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4"/>
  </p:notesMasterIdLst>
  <p:handoutMasterIdLst>
    <p:handoutMasterId r:id="rId55"/>
  </p:handoutMasterIdLst>
  <p:sldIdLst>
    <p:sldId id="256" r:id="rId2"/>
    <p:sldId id="535" r:id="rId3"/>
    <p:sldId id="537" r:id="rId4"/>
    <p:sldId id="595" r:id="rId5"/>
    <p:sldId id="616" r:id="rId6"/>
    <p:sldId id="540" r:id="rId7"/>
    <p:sldId id="617" r:id="rId8"/>
    <p:sldId id="597" r:id="rId9"/>
    <p:sldId id="766" r:id="rId10"/>
    <p:sldId id="599" r:id="rId11"/>
    <p:sldId id="618" r:id="rId12"/>
    <p:sldId id="598" r:id="rId13"/>
    <p:sldId id="602" r:id="rId14"/>
    <p:sldId id="781" r:id="rId15"/>
    <p:sldId id="604" r:id="rId16"/>
    <p:sldId id="782" r:id="rId17"/>
    <p:sldId id="609" r:id="rId18"/>
    <p:sldId id="610" r:id="rId19"/>
    <p:sldId id="607" r:id="rId20"/>
    <p:sldId id="784" r:id="rId21"/>
    <p:sldId id="783" r:id="rId22"/>
    <p:sldId id="774" r:id="rId23"/>
    <p:sldId id="767" r:id="rId24"/>
    <p:sldId id="785" r:id="rId25"/>
    <p:sldId id="611" r:id="rId26"/>
    <p:sldId id="612" r:id="rId27"/>
    <p:sldId id="728" r:id="rId28"/>
    <p:sldId id="759" r:id="rId29"/>
    <p:sldId id="729" r:id="rId30"/>
    <p:sldId id="730" r:id="rId31"/>
    <p:sldId id="731" r:id="rId32"/>
    <p:sldId id="760" r:id="rId33"/>
    <p:sldId id="732" r:id="rId34"/>
    <p:sldId id="735" r:id="rId35"/>
    <p:sldId id="736" r:id="rId36"/>
    <p:sldId id="738" r:id="rId37"/>
    <p:sldId id="761" r:id="rId38"/>
    <p:sldId id="741" r:id="rId39"/>
    <p:sldId id="743" r:id="rId40"/>
    <p:sldId id="744" r:id="rId41"/>
    <p:sldId id="763" r:id="rId42"/>
    <p:sldId id="787" r:id="rId43"/>
    <p:sldId id="750" r:id="rId44"/>
    <p:sldId id="745" r:id="rId45"/>
    <p:sldId id="752" r:id="rId46"/>
    <p:sldId id="762" r:id="rId47"/>
    <p:sldId id="753" r:id="rId48"/>
    <p:sldId id="788" r:id="rId49"/>
    <p:sldId id="789" r:id="rId50"/>
    <p:sldId id="754" r:id="rId51"/>
    <p:sldId id="625" r:id="rId52"/>
    <p:sldId id="764" r:id="rId53"/>
  </p:sldIdLst>
  <p:sldSz cx="9144000" cy="6858000" type="screen4x3"/>
  <p:notesSz cx="6735763" cy="9866313"/>
  <p:custDataLst>
    <p:tags r:id="rId5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édéric Salpietro" initials="FS" lastIdx="1" clrIdx="0">
    <p:extLst>
      <p:ext uri="{19B8F6BF-5375-455C-9EA6-DF929625EA0E}">
        <p15:presenceInfo xmlns:p15="http://schemas.microsoft.com/office/powerpoint/2012/main" userId="S-1-5-21-180320506-1327177507-2753617407-1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97D"/>
    <a:srgbClr val="4F81BD"/>
    <a:srgbClr val="1381BD"/>
    <a:srgbClr val="4941E7"/>
    <a:srgbClr val="E9EDF4"/>
    <a:srgbClr val="494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9857" autoAdjust="0"/>
  </p:normalViewPr>
  <p:slideViewPr>
    <p:cSldViewPr>
      <p:cViewPr varScale="1">
        <p:scale>
          <a:sx n="78" d="100"/>
          <a:sy n="78" d="100"/>
        </p:scale>
        <p:origin x="1522" y="67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4" d="100"/>
        <a:sy n="84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276" y="-114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/>
          <a:lstStyle>
            <a:lvl1pPr algn="r">
              <a:defRPr sz="1200"/>
            </a:lvl1pPr>
          </a:lstStyle>
          <a:p>
            <a:fld id="{413E06DA-2B23-4CC8-8B4D-C8F079D5A28B}" type="datetimeFigureOut">
              <a:rPr lang="fr-BE" smtClean="0"/>
              <a:pPr/>
              <a:t>29/04/2022</a:t>
            </a:fld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371285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 anchor="b"/>
          <a:lstStyle>
            <a:lvl1pPr algn="r">
              <a:defRPr sz="1200"/>
            </a:lvl1pPr>
          </a:lstStyle>
          <a:p>
            <a:fld id="{4142AA3F-E092-449A-A694-7FD097047D9D}" type="slidenum">
              <a:rPr lang="fr-BE" smtClean="0"/>
              <a:pPr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82701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/>
          <a:lstStyle>
            <a:lvl1pPr algn="r">
              <a:defRPr sz="1200"/>
            </a:lvl1pPr>
          </a:lstStyle>
          <a:p>
            <a:fld id="{D94A8F82-66AF-41FC-9E08-C6F5C8CAE7CC}" type="datetimeFigureOut">
              <a:rPr lang="fr-BE" smtClean="0"/>
              <a:pPr/>
              <a:t>29/04/2022</a:t>
            </a:fld>
            <a:endParaRPr lang="fr-B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50" tIns="45525" rIns="91050" bIns="45525" rtlCol="0" anchor="ctr"/>
          <a:lstStyle/>
          <a:p>
            <a:endParaRPr lang="fr-B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050" tIns="45525" rIns="91050" bIns="4552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1285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 anchor="b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1050" tIns="45525" rIns="91050" bIns="45525" rtlCol="0" anchor="b"/>
          <a:lstStyle>
            <a:lvl1pPr algn="r">
              <a:defRPr sz="1200"/>
            </a:lvl1pPr>
          </a:lstStyle>
          <a:p>
            <a:fld id="{7BE53654-73D7-4696-A749-32B4DF17B68F}" type="slidenum">
              <a:rPr lang="fr-BE" smtClean="0"/>
              <a:pPr/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764335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1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8645428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2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24322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3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9036890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4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636501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5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59160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6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6381704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7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946788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E53654-73D7-4696-A749-32B4DF17B68F}" type="slidenum">
              <a:rPr lang="fr-BE" smtClean="0"/>
              <a:pPr/>
              <a:t>12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375879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8720" y="2130425"/>
            <a:ext cx="7126560" cy="1470025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BE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700736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BE" noProof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BE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525963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BE" noProof="0" dirty="0"/>
              <a:t>Click to </a:t>
            </a:r>
            <a:r>
              <a:rPr lang="fr-BE" noProof="0" dirty="0" err="1"/>
              <a:t>edit</a:t>
            </a:r>
            <a:r>
              <a:rPr lang="fr-BE" noProof="0" dirty="0"/>
              <a:t> Master </a:t>
            </a:r>
            <a:r>
              <a:rPr lang="fr-BE" noProof="0" dirty="0" err="1"/>
              <a:t>text</a:t>
            </a:r>
            <a:r>
              <a:rPr lang="fr-BE" noProof="0" dirty="0"/>
              <a:t>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485929"/>
            <a:ext cx="9144000" cy="457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noProof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-658" y="6505599"/>
            <a:ext cx="684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i="0" dirty="0">
                <a:solidFill>
                  <a:schemeClr val="tx2"/>
                </a:solidFill>
                <a:latin typeface="Adobe Garamond Pro" pitchFamily="18" charset="0"/>
                <a:ea typeface="Adobe Fangsong Std R" pitchFamily="18" charset="-128"/>
              </a:rPr>
              <a:t>Solviti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" name="think-cell Slide" r:id="rId4" imgW="440" imgH="442" progId="TCLayout.ActiveDocument.1">
                  <p:embed/>
                </p:oleObj>
              </mc:Choice>
              <mc:Fallback>
                <p:oleObj name="think-cell Slide" r:id="rId4" imgW="440" imgH="442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BE" noProof="0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485929"/>
            <a:ext cx="9144000" cy="457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BE" noProof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-658" y="6505599"/>
            <a:ext cx="684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i="0" dirty="0">
                <a:solidFill>
                  <a:schemeClr val="tx2"/>
                </a:solidFill>
                <a:latin typeface="Adobe Garamond Pro" pitchFamily="18" charset="0"/>
                <a:ea typeface="Adobe Fangsong Std R" pitchFamily="18" charset="-128"/>
              </a:rPr>
              <a:t>Solviti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 algn="l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BE" noProof="0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485929"/>
            <a:ext cx="9144000" cy="457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BE" noProof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-658" y="6505599"/>
            <a:ext cx="684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i="0" dirty="0">
                <a:solidFill>
                  <a:schemeClr val="tx2"/>
                </a:solidFill>
                <a:latin typeface="Adobe Garamond Pro" pitchFamily="18" charset="0"/>
                <a:ea typeface="Adobe Fangsong Std R" pitchFamily="18" charset="-128"/>
              </a:rPr>
              <a:t>Solviti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485929"/>
            <a:ext cx="9144000" cy="457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806896" y="1600200"/>
            <a:ext cx="7869560" cy="4525963"/>
          </a:xfrm>
        </p:spPr>
        <p:txBody>
          <a:bodyPr>
            <a:noAutofit/>
          </a:bodyPr>
          <a:lstStyle>
            <a:lvl1pPr>
              <a:buFont typeface="Wingdings" pitchFamily="2" charset="2"/>
              <a:buChar char="Ø"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BE" noProof="0"/>
              <a:t>Click to edit Master text styles</a:t>
            </a:r>
          </a:p>
          <a:p>
            <a:pPr lvl="1"/>
            <a:r>
              <a:rPr lang="fr-BE" noProof="0"/>
              <a:t>Second level</a:t>
            </a:r>
          </a:p>
          <a:p>
            <a:pPr lvl="2"/>
            <a:r>
              <a:rPr lang="fr-BE" noProof="0"/>
              <a:t>Third level</a:t>
            </a:r>
          </a:p>
          <a:p>
            <a:pPr lvl="3"/>
            <a:r>
              <a:rPr lang="fr-BE" noProof="0"/>
              <a:t>Fourth level</a:t>
            </a:r>
          </a:p>
          <a:p>
            <a:pPr lvl="4"/>
            <a:r>
              <a:rPr lang="fr-BE" noProof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-658" y="6505599"/>
            <a:ext cx="684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i="0" dirty="0">
                <a:solidFill>
                  <a:schemeClr val="tx2"/>
                </a:solidFill>
                <a:latin typeface="Adobe Garamond Pro" pitchFamily="18" charset="0"/>
                <a:ea typeface="Adobe Fangsong Std R" pitchFamily="18" charset="-128"/>
              </a:rPr>
              <a:t>Solviti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r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8" name="think-cell Slide" r:id="rId4" imgW="440" imgH="442" progId="TCLayout.ActiveDocument.1">
                  <p:embed/>
                </p:oleObj>
              </mc:Choice>
              <mc:Fallback>
                <p:oleObj name="think-cell Slide" r:id="rId4" imgW="440" imgH="442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20272" y="6489498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C6C98ACD-F7FA-411E-A8AB-DE0C0FCD1A9E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485929"/>
            <a:ext cx="9144000" cy="4571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BE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-658" y="6505599"/>
            <a:ext cx="684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i="0" dirty="0">
                <a:solidFill>
                  <a:schemeClr val="tx2"/>
                </a:solidFill>
                <a:latin typeface="Adobe Garamond Pro" pitchFamily="18" charset="0"/>
                <a:ea typeface="Adobe Fangsong Std R" pitchFamily="18" charset="-128"/>
              </a:rPr>
              <a:t>Solvitis</a:t>
            </a:r>
          </a:p>
        </p:txBody>
      </p:sp>
      <p:pic>
        <p:nvPicPr>
          <p:cNvPr id="9" name="Picture 1" descr="D:\Mes Documents Th\Companies\Solvitis\Customer\e-Capital\TechnoMetal\1. Diagnostic\technometal_logo_complet.pn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54928" y="6543376"/>
            <a:ext cx="1020128" cy="29551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07EDDFA-10FE-4263-AA12-2FDA5451DA31}" type="datetimeFigureOut">
              <a:rPr lang="fr-BE" smtClean="0"/>
              <a:t>29/04/2022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A7F86F0-4A2D-4F54-9F84-283FBA25AF7F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91196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" name="think-cell Slide" r:id="rId12" imgW="440" imgH="442" progId="TCLayout.ActiveDocument.1">
                  <p:embed/>
                </p:oleObj>
              </mc:Choice>
              <mc:Fallback>
                <p:oleObj name="think-cell Slide" r:id="rId12" imgW="440" imgH="442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BE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BE" noProof="0"/>
              <a:t>Click to edit Master text styles</a:t>
            </a:r>
          </a:p>
          <a:p>
            <a:pPr lvl="1"/>
            <a:r>
              <a:rPr lang="fr-BE" noProof="0"/>
              <a:t>Second level</a:t>
            </a:r>
          </a:p>
          <a:p>
            <a:pPr lvl="2"/>
            <a:r>
              <a:rPr lang="fr-BE" noProof="0"/>
              <a:t>Third level</a:t>
            </a:r>
          </a:p>
          <a:p>
            <a:pPr lvl="3"/>
            <a:r>
              <a:rPr lang="fr-BE" noProof="0"/>
              <a:t>Fourth level</a:t>
            </a:r>
          </a:p>
          <a:p>
            <a:pPr lvl="4"/>
            <a:r>
              <a:rPr lang="fr-BE" noProof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63" r:id="rId3"/>
    <p:sldLayoutId id="2147483665" r:id="rId4"/>
    <p:sldLayoutId id="2147483664" r:id="rId5"/>
    <p:sldLayoutId id="2147483651" r:id="rId6"/>
    <p:sldLayoutId id="2147483666" r:id="rId7"/>
    <p:sldLayoutId id="2147483667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image" Target="../media/image15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3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50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image" Target="../media/image62.jpg"/><Relationship Id="rId4" Type="http://schemas.openxmlformats.org/officeDocument/2006/relationships/image" Target="../media/image6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openxmlformats.org/officeDocument/2006/relationships/image" Target="../media/image70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2.jp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.png"/><Relationship Id="rId4" Type="http://schemas.openxmlformats.org/officeDocument/2006/relationships/image" Target="../media/image7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57.png"/><Relationship Id="rId4" Type="http://schemas.openxmlformats.org/officeDocument/2006/relationships/image" Target="../media/image8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.png"/><Relationship Id="rId5" Type="http://schemas.openxmlformats.org/officeDocument/2006/relationships/image" Target="../media/image93.jpeg"/><Relationship Id="rId4" Type="http://schemas.openxmlformats.org/officeDocument/2006/relationships/image" Target="../media/image92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6.wmf"/><Relationship Id="rId4" Type="http://schemas.openxmlformats.org/officeDocument/2006/relationships/oleObject" Target="../embeddings/oleObject4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4788024" y="4869160"/>
            <a:ext cx="3684526" cy="1500187"/>
          </a:xfrm>
        </p:spPr>
        <p:txBody>
          <a:bodyPr>
            <a:normAutofit/>
          </a:bodyPr>
          <a:lstStyle/>
          <a:p>
            <a:pPr marL="0" indent="3175" algn="r">
              <a:buNone/>
            </a:pPr>
            <a:endParaRPr lang="fr-BE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3175" algn="r">
              <a:buNone/>
            </a:pPr>
            <a:endParaRPr lang="fr-BE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3175" algn="r">
              <a:buNone/>
            </a:pPr>
            <a:r>
              <a:rPr lang="fr-BE" dirty="0">
                <a:solidFill>
                  <a:schemeClr val="accent1">
                    <a:lumMod val="75000"/>
                  </a:schemeClr>
                </a:solidFill>
              </a:rPr>
              <a:t>4 mai 2022 </a:t>
            </a: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084168" y="548680"/>
            <a:ext cx="2400300" cy="695325"/>
          </a:xfrm>
          <a:prstGeom prst="rect">
            <a:avLst/>
          </a:prstGeom>
          <a:noFill/>
        </p:spPr>
      </p:pic>
      <p:sp>
        <p:nvSpPr>
          <p:cNvPr id="2" name="ZoneTexte 1"/>
          <p:cNvSpPr txBox="1"/>
          <p:nvPr/>
        </p:nvSpPr>
        <p:spPr>
          <a:xfrm>
            <a:off x="467544" y="1556792"/>
            <a:ext cx="80169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3200" dirty="0">
                <a:solidFill>
                  <a:schemeClr val="accent1">
                    <a:lumMod val="75000"/>
                  </a:schemeClr>
                </a:solidFill>
              </a:rPr>
              <a:t>Pont haubané de la gare multimodale de Namur</a:t>
            </a:r>
          </a:p>
          <a:p>
            <a:endParaRPr lang="fr-BE" sz="32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fr-BE" sz="3200" dirty="0">
                <a:solidFill>
                  <a:schemeClr val="accent1">
                    <a:lumMod val="75000"/>
                  </a:schemeClr>
                </a:solidFill>
              </a:rPr>
              <a:t>Présenté par :</a:t>
            </a:r>
          </a:p>
          <a:p>
            <a:r>
              <a:rPr lang="fr-BE" sz="3200" dirty="0">
                <a:solidFill>
                  <a:schemeClr val="accent1">
                    <a:lumMod val="75000"/>
                  </a:schemeClr>
                </a:solidFill>
              </a:rPr>
              <a:t>Eric Deneil – Directeur Technico-Commercial</a:t>
            </a:r>
          </a:p>
          <a:p>
            <a:r>
              <a:rPr lang="fr-BE" sz="3200" dirty="0">
                <a:solidFill>
                  <a:schemeClr val="accent1">
                    <a:lumMod val="75000"/>
                  </a:schemeClr>
                </a:solidFill>
              </a:rPr>
              <a:t>Vincent Timmermann – Directeur Opérationnel 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27" y="620688"/>
            <a:ext cx="4206857" cy="3155143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537" y="3573016"/>
            <a:ext cx="4207326" cy="3155494"/>
          </a:xfrm>
          <a:prstGeom prst="rect">
            <a:avLst/>
          </a:prstGeom>
        </p:spPr>
      </p:pic>
      <p:sp>
        <p:nvSpPr>
          <p:cNvPr id="7" name="Espace réservé du texte 2"/>
          <p:cNvSpPr>
            <a:spLocks noGrp="1"/>
          </p:cNvSpPr>
          <p:nvPr>
            <p:ph type="body" idx="1"/>
          </p:nvPr>
        </p:nvSpPr>
        <p:spPr>
          <a:xfrm>
            <a:off x="323528" y="116632"/>
            <a:ext cx="7848872" cy="504056"/>
          </a:xfrm>
        </p:spPr>
        <p:txBody>
          <a:bodyPr>
            <a:noAutofit/>
          </a:bodyPr>
          <a:lstStyle/>
          <a:p>
            <a:endParaRPr lang="fr-FR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1. PRS </a:t>
            </a:r>
            <a:r>
              <a:rPr lang="fr-FR" sz="2400" dirty="0" err="1">
                <a:solidFill>
                  <a:srgbClr val="1F497D"/>
                </a:solidFill>
              </a:rPr>
              <a:t>embétonnée</a:t>
            </a:r>
            <a:r>
              <a:rPr lang="fr-FR" sz="2400" dirty="0">
                <a:solidFill>
                  <a:srgbClr val="1F497D"/>
                </a:solidFill>
              </a:rPr>
              <a:t> dans la rampe d’accès rectiligne en béton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97776" y="1072425"/>
            <a:ext cx="4189959" cy="314246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702" y="3600400"/>
            <a:ext cx="4187957" cy="3140968"/>
          </a:xfrm>
          <a:prstGeom prst="rect">
            <a:avLst/>
          </a:prstGeom>
        </p:spPr>
      </p:pic>
      <p:pic>
        <p:nvPicPr>
          <p:cNvPr id="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8622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332656"/>
            <a:ext cx="7776864" cy="432048"/>
          </a:xfrm>
        </p:spPr>
        <p:txBody>
          <a:bodyPr>
            <a:normAutofit lnSpcReduction="10000"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2. Structures provisoires de montage</a:t>
            </a:r>
            <a:endParaRPr lang="fr-BE" sz="2400" dirty="0">
              <a:solidFill>
                <a:srgbClr val="1F497D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2354456"/>
              </p:ext>
            </p:extLst>
          </p:nvPr>
        </p:nvGraphicFramePr>
        <p:xfrm>
          <a:off x="752094" y="908720"/>
          <a:ext cx="7824173" cy="55289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9" name="PDF" r:id="rId3" imgW="0" imgH="360" progId="FoxitReader.Document">
                  <p:embed/>
                </p:oleObj>
              </mc:Choice>
              <mc:Fallback>
                <p:oleObj name="PDF" r:id="rId3" imgW="0" imgH="360" progId="FoxitReader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52094" y="908720"/>
                        <a:ext cx="7824173" cy="55289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18790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107504" y="260649"/>
            <a:ext cx="7772400" cy="331453"/>
          </a:xfrm>
        </p:spPr>
        <p:txBody>
          <a:bodyPr>
            <a:normAutofit fontScale="92500" lnSpcReduction="20000"/>
          </a:bodyPr>
          <a:lstStyle/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239" y="624490"/>
            <a:ext cx="3252770" cy="433702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239" y="4536048"/>
            <a:ext cx="2927509" cy="2195632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8" y="1412776"/>
            <a:ext cx="5628118" cy="4221088"/>
          </a:xfrm>
          <a:prstGeom prst="rect">
            <a:avLst/>
          </a:prstGeom>
        </p:spPr>
      </p:pic>
      <p:sp>
        <p:nvSpPr>
          <p:cNvPr id="10" name="Espace réservé du texte 2"/>
          <p:cNvSpPr txBox="1">
            <a:spLocks/>
          </p:cNvSpPr>
          <p:nvPr/>
        </p:nvSpPr>
        <p:spPr>
          <a:xfrm>
            <a:off x="251520" y="260648"/>
            <a:ext cx="5040560" cy="43204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400" dirty="0">
                <a:solidFill>
                  <a:srgbClr val="1F497D"/>
                </a:solidFill>
              </a:rPr>
              <a:t>2. Structures provisoires de montage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5475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260648"/>
            <a:ext cx="7992888" cy="504056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3. Moignon (liaison avec la rampe rectiligne en béton)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75" y="1700808"/>
            <a:ext cx="8954680" cy="3236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7528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260648"/>
            <a:ext cx="7992888" cy="504056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3. Moignon (liaison avec la rampe rectiligne en béton)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086" y="2060848"/>
            <a:ext cx="6048672" cy="453650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980728"/>
            <a:ext cx="4320480" cy="5760640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4856831" y="874457"/>
            <a:ext cx="40324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- Le moignon est la première partie du caisson principal encastré dans la rampe rectiligne en béton.</a:t>
            </a:r>
            <a:endParaRPr lang="fr-BE" dirty="0"/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10381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3" y="332656"/>
            <a:ext cx="8174285" cy="432048"/>
          </a:xfrm>
        </p:spPr>
        <p:txBody>
          <a:bodyPr>
            <a:normAutofit fontScale="25000" lnSpcReduction="20000"/>
          </a:bodyPr>
          <a:lstStyle/>
          <a:p>
            <a:endParaRPr lang="fr-FR" sz="3000" dirty="0">
              <a:solidFill>
                <a:srgbClr val="1F497D"/>
              </a:solidFill>
            </a:endParaRPr>
          </a:p>
          <a:p>
            <a:r>
              <a:rPr lang="fr-FR" sz="9600" dirty="0">
                <a:solidFill>
                  <a:srgbClr val="1F497D"/>
                </a:solidFill>
              </a:rPr>
              <a:t>4. Caisson principal avec pièces de connexion aux haubans</a:t>
            </a:r>
            <a:endParaRPr lang="fr-BE" sz="9600" dirty="0">
              <a:solidFill>
                <a:srgbClr val="1F497D"/>
              </a:solidFill>
            </a:endParaRPr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5005"/>
            <a:ext cx="9144000" cy="430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1535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701466"/>
            <a:ext cx="5184576" cy="388843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046" y="963752"/>
            <a:ext cx="4545822" cy="3409366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3" y="332656"/>
            <a:ext cx="8174285" cy="432048"/>
          </a:xfrm>
        </p:spPr>
        <p:txBody>
          <a:bodyPr>
            <a:normAutofit fontScale="25000" lnSpcReduction="20000"/>
          </a:bodyPr>
          <a:lstStyle/>
          <a:p>
            <a:endParaRPr lang="fr-FR" sz="3000" dirty="0">
              <a:solidFill>
                <a:srgbClr val="1F497D"/>
              </a:solidFill>
            </a:endParaRPr>
          </a:p>
          <a:p>
            <a:r>
              <a:rPr lang="fr-FR" sz="9600" dirty="0">
                <a:solidFill>
                  <a:srgbClr val="1F497D"/>
                </a:solidFill>
              </a:rPr>
              <a:t>4. Caisson principal avec pièces de connexion aux haubans</a:t>
            </a:r>
            <a:endParaRPr lang="fr-BE" sz="9600" dirty="0">
              <a:solidFill>
                <a:srgbClr val="1F497D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2636" y="3429000"/>
            <a:ext cx="4320480" cy="324036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581793" y="963752"/>
            <a:ext cx="32701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Le caisson principal : fabriqué et posé en 4 parties puis soudé en position.</a:t>
            </a:r>
          </a:p>
          <a:p>
            <a:pPr marL="285750" indent="-285750">
              <a:buFontTx/>
              <a:buChar char="-"/>
            </a:pPr>
            <a:r>
              <a:rPr lang="fr-FR" dirty="0"/>
              <a:t>3 éléments sur 4 sont pourvus de pièces de connexion aux haubans.</a:t>
            </a:r>
          </a:p>
          <a:p>
            <a:pPr marL="285750" indent="-285750">
              <a:buFontTx/>
              <a:buChar char="-"/>
            </a:pPr>
            <a:endParaRPr lang="fr-BE" dirty="0"/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304096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5733254"/>
            <a:ext cx="3633663" cy="360041"/>
          </a:xfrm>
        </p:spPr>
        <p:txBody>
          <a:bodyPr>
            <a:normAutofit fontScale="90000"/>
          </a:bodyPr>
          <a:lstStyle/>
          <a:p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928347"/>
            <a:ext cx="3203751" cy="2402813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84" y="3501008"/>
            <a:ext cx="4157430" cy="3118073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45" y="3501008"/>
            <a:ext cx="4166321" cy="312474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84" y="920535"/>
            <a:ext cx="3224584" cy="241843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8008" y="940872"/>
            <a:ext cx="3203274" cy="2402456"/>
          </a:xfrm>
          <a:prstGeom prst="rect">
            <a:avLst/>
          </a:prstGeom>
        </p:spPr>
      </p:pic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3" y="260648"/>
            <a:ext cx="8174285" cy="432048"/>
          </a:xfrm>
        </p:spPr>
        <p:txBody>
          <a:bodyPr>
            <a:normAutofit fontScale="25000" lnSpcReduction="20000"/>
          </a:bodyPr>
          <a:lstStyle/>
          <a:p>
            <a:endParaRPr lang="fr-FR" sz="3000" dirty="0">
              <a:solidFill>
                <a:srgbClr val="1F497D"/>
              </a:solidFill>
            </a:endParaRPr>
          </a:p>
          <a:p>
            <a:r>
              <a:rPr lang="fr-FR" sz="9600" dirty="0">
                <a:solidFill>
                  <a:srgbClr val="1F497D"/>
                </a:solidFill>
              </a:rPr>
              <a:t>4. Caisson principal avec pièces de connexion aux haubans</a:t>
            </a:r>
            <a:endParaRPr lang="fr-BE" sz="9600" dirty="0">
              <a:solidFill>
                <a:srgbClr val="1F497D"/>
              </a:solidFill>
            </a:endParaRPr>
          </a:p>
        </p:txBody>
      </p:sp>
      <p:pic>
        <p:nvPicPr>
          <p:cNvPr id="10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97680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5733254"/>
            <a:ext cx="3633663" cy="360041"/>
          </a:xfrm>
        </p:spPr>
        <p:txBody>
          <a:bodyPr>
            <a:normAutofit fontScale="90000"/>
          </a:bodyPr>
          <a:lstStyle/>
          <a:p>
            <a:endParaRPr lang="fr-BE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85" y="3356992"/>
            <a:ext cx="4512503" cy="3384376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998592"/>
            <a:ext cx="4392488" cy="3294366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998592"/>
            <a:ext cx="4392488" cy="3294366"/>
          </a:xfrm>
          <a:prstGeom prst="rect">
            <a:avLst/>
          </a:prstGeom>
        </p:spPr>
      </p:pic>
      <p:sp>
        <p:nvSpPr>
          <p:cNvPr id="7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3" y="260648"/>
            <a:ext cx="8174285" cy="432048"/>
          </a:xfrm>
        </p:spPr>
        <p:txBody>
          <a:bodyPr>
            <a:normAutofit fontScale="25000" lnSpcReduction="20000"/>
          </a:bodyPr>
          <a:lstStyle/>
          <a:p>
            <a:endParaRPr lang="fr-FR" sz="3000" dirty="0">
              <a:solidFill>
                <a:srgbClr val="1F497D"/>
              </a:solidFill>
            </a:endParaRPr>
          </a:p>
          <a:p>
            <a:r>
              <a:rPr lang="fr-FR" sz="9600" dirty="0">
                <a:solidFill>
                  <a:srgbClr val="1F497D"/>
                </a:solidFill>
              </a:rPr>
              <a:t>4. Caisson principal avec pièces de connexion aux haubans</a:t>
            </a:r>
            <a:endParaRPr lang="fr-BE" sz="9600" dirty="0">
              <a:solidFill>
                <a:srgbClr val="1F497D"/>
              </a:solidFill>
            </a:endParaRPr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128014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3"/>
            <a:ext cx="7704856" cy="576064"/>
          </a:xfrm>
        </p:spPr>
        <p:txBody>
          <a:bodyPr>
            <a:noAutofit/>
          </a:bodyPr>
          <a:lstStyle/>
          <a:p>
            <a:endParaRPr lang="fr-FR" sz="2400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5. Entretoises, poutres de rive et culée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72809"/>
            <a:ext cx="9144000" cy="411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417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971600" y="3212976"/>
            <a:ext cx="6480720" cy="1500187"/>
          </a:xfrm>
        </p:spPr>
        <p:txBody>
          <a:bodyPr>
            <a:normAutofit/>
          </a:bodyPr>
          <a:lstStyle/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842665" y="260648"/>
            <a:ext cx="1032148" cy="298995"/>
          </a:xfrm>
          <a:prstGeom prst="rect">
            <a:avLst/>
          </a:prstGeom>
          <a:noFill/>
        </p:spPr>
      </p:pic>
      <p:sp>
        <p:nvSpPr>
          <p:cNvPr id="3" name="Rectangle 43"/>
          <p:cNvSpPr>
            <a:spLocks noChangeArrowheads="1"/>
          </p:cNvSpPr>
          <p:nvPr/>
        </p:nvSpPr>
        <p:spPr bwMode="auto">
          <a:xfrm>
            <a:off x="755576" y="394867"/>
            <a:ext cx="7455487" cy="6101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2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kumimoji="0" lang="fr-BE" altLang="fr-FR" sz="2800" b="1" i="0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fr-BE" altLang="fr-FR" sz="2800" b="1" u="sng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enants :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Maîtres d’Ouvrage :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SNCB Direction Stations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SPW Direction Générale Opérationnelle « Routes et Bâtiments »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          DGO1 – Direction des Routes de Namur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Société Régionale Wallonne du Transport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Ville de Namur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Pouvoir adjudicateur : SNCB Stations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Maître d’Œuvre chargé de la conception et du contrôle de l’exécution :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EUROGARE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FR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Délégué du Maître d’Ouvrage : SEMACO</a:t>
            </a: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Bureau d’Etudes – auteur de projet : NEY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Bureau de Contrôle : SECO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Entreprise Générale : SM FRANKI - DUCHENE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fr-BE" altLang="fr-FR" sz="1600" b="1" i="1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fr-BE" altLang="fr-FR" sz="1600" b="1" i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fr-BE" altLang="fr-FR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eur métallique du pont : TECHNO METAL INDUSTRIE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altLang="fr-FR" sz="1600" b="1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Bureau d’Etudes de Techno Métal Industrie</a:t>
            </a:r>
            <a:r>
              <a:rPr kumimoji="0" lang="fr-FR" altLang="fr-FR" sz="1600" b="1" u="none" strike="noStrike" cap="none" normalizeH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SC&amp;D</a:t>
            </a:r>
            <a:endParaRPr kumimoji="0" lang="fr-BE" altLang="fr-FR" sz="2000" b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altLang="fr-FR" sz="105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9544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3"/>
            <a:ext cx="7704856" cy="576064"/>
          </a:xfrm>
        </p:spPr>
        <p:txBody>
          <a:bodyPr>
            <a:noAutofit/>
          </a:bodyPr>
          <a:lstStyle/>
          <a:p>
            <a:endParaRPr lang="fr-FR" sz="2400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5. Entretoises, poutres de rive et culée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45809"/>
            <a:ext cx="9144000" cy="436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9524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3"/>
            <a:ext cx="7704856" cy="576064"/>
          </a:xfrm>
        </p:spPr>
        <p:txBody>
          <a:bodyPr>
            <a:noAutofit/>
          </a:bodyPr>
          <a:lstStyle/>
          <a:p>
            <a:endParaRPr lang="fr-FR" sz="2400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5. Entretoises, poutres de rive et culée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204863"/>
            <a:ext cx="4059620" cy="3044715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467545" y="908720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- Le tablier du pont est formé par un caisson principal désaxé ainsi que des entretoises en porte-à faux reliées entre elles par une poutre de rive.</a:t>
            </a:r>
            <a:endParaRPr lang="fr-BE" dirty="0"/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860" y="2204864"/>
            <a:ext cx="4059619" cy="304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324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05426"/>
            <a:ext cx="9144000" cy="4247147"/>
          </a:xfrm>
          <a:prstGeom prst="rect">
            <a:avLst/>
          </a:prstGeom>
        </p:spPr>
      </p:pic>
      <p:sp>
        <p:nvSpPr>
          <p:cNvPr id="7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3"/>
            <a:ext cx="7704856" cy="576064"/>
          </a:xfrm>
        </p:spPr>
        <p:txBody>
          <a:bodyPr>
            <a:noAutofit/>
          </a:bodyPr>
          <a:lstStyle/>
          <a:p>
            <a:endParaRPr lang="fr-FR" sz="2400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5. Entretoises, poutres de rive et culée</a:t>
            </a:r>
            <a:endParaRPr lang="fr-BE" sz="2400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300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3"/>
            <a:ext cx="7704856" cy="576064"/>
          </a:xfrm>
        </p:spPr>
        <p:txBody>
          <a:bodyPr>
            <a:noAutofit/>
          </a:bodyPr>
          <a:lstStyle/>
          <a:p>
            <a:endParaRPr lang="fr-FR" sz="2400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5. Entretoises, poutres de rive et culée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467545" y="908720"/>
            <a:ext cx="8280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- L’autre extrémité du  pont est posée sur la culée située sur le bâtiment de la gare et permet de reprendre les mouvements de rotations et de dilatation de l’ouvrage à l’aide de 2 appuis dont l’un renversé. Ces appuis ont été sollicités lors du démontage des structures provisoires supportant les entretoises.</a:t>
            </a:r>
            <a:endParaRPr lang="fr-BE" dirty="0"/>
          </a:p>
        </p:txBody>
      </p:sp>
      <p:pic>
        <p:nvPicPr>
          <p:cNvPr id="7" name="Imag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566" y="2309108"/>
            <a:ext cx="5472608" cy="1860133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861048"/>
            <a:ext cx="3635896" cy="2726922"/>
          </a:xfrm>
          <a:prstGeom prst="rect">
            <a:avLst/>
          </a:prstGeom>
        </p:spPr>
      </p:pic>
      <p:pic>
        <p:nvPicPr>
          <p:cNvPr id="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45604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67544" y="116633"/>
            <a:ext cx="2952328" cy="504056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3307"/>
            <a:ext cx="9144000" cy="409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2315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67544" y="116633"/>
            <a:ext cx="2952328" cy="504056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51960" y="2423205"/>
            <a:ext cx="4410383" cy="33077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29" y="2098017"/>
            <a:ext cx="6326285" cy="4725498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467544" y="620689"/>
            <a:ext cx="84969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Bien que doté d’une allure esthétique très fine, le mât est pourtant composé de tôles en acier S460 avec des épaisseurs pouvant aller jusqu’à 120 </a:t>
            </a:r>
            <a:r>
              <a:rPr lang="fr-FR" dirty="0" err="1"/>
              <a:t>mm.</a:t>
            </a:r>
            <a:endParaRPr lang="fr-FR" dirty="0"/>
          </a:p>
          <a:p>
            <a:pPr marL="285750" indent="-285750">
              <a:buFontTx/>
              <a:buChar char="-"/>
            </a:pPr>
            <a:r>
              <a:rPr lang="fr-FR" dirty="0"/>
              <a:t>Ce mât n’est pas ancré dans le béton mais bien déposé sur un socle, formant rotule, permettant au mât de bouger au gré des mouvements du pont liés aux passages routiers.</a:t>
            </a:r>
            <a:endParaRPr lang="fr-BE" dirty="0"/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63996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66060" y="1562989"/>
            <a:ext cx="5234137" cy="3925604"/>
          </a:xfrm>
          <a:prstGeom prst="rect">
            <a:avLst/>
          </a:prstGeom>
        </p:spPr>
      </p:pic>
      <p:sp>
        <p:nvSpPr>
          <p:cNvPr id="6" name="Espace réservé du texte 2"/>
          <p:cNvSpPr>
            <a:spLocks noGrp="1"/>
          </p:cNvSpPr>
          <p:nvPr>
            <p:ph type="body" idx="1"/>
          </p:nvPr>
        </p:nvSpPr>
        <p:spPr>
          <a:xfrm>
            <a:off x="755576" y="0"/>
            <a:ext cx="1088931" cy="576063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0" y="2204864"/>
            <a:ext cx="4960214" cy="432048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323528" y="620688"/>
            <a:ext cx="4822353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Pose et réglage pour scellement du pied du mât.</a:t>
            </a:r>
          </a:p>
          <a:p>
            <a:pPr marL="285750" indent="-285750">
              <a:buFontTx/>
              <a:buChar char="-"/>
            </a:pPr>
            <a:r>
              <a:rPr lang="fr-FR" dirty="0"/>
              <a:t>L’orientation de ce socle, avec tête bombée, a du être garantie au dixième de millimètre afin d’assurer un contact suffisant dans toutes les positions du mât.</a:t>
            </a:r>
            <a:endParaRPr lang="fr-BE" dirty="0"/>
          </a:p>
        </p:txBody>
      </p:sp>
      <p:sp>
        <p:nvSpPr>
          <p:cNvPr id="11" name="Rectangle 10"/>
          <p:cNvSpPr/>
          <p:nvPr/>
        </p:nvSpPr>
        <p:spPr>
          <a:xfrm>
            <a:off x="4444401" y="3244334"/>
            <a:ext cx="2551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-</a:t>
            </a:r>
            <a:endParaRPr lang="fr-BE" dirty="0"/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850438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6" y="402760"/>
            <a:ext cx="87962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Transport du mât pendant la nuit et stockage de celui-ci sur la zone de déchargement.</a:t>
            </a:r>
            <a:r>
              <a:rPr lang="fr-BE" sz="2000" dirty="0">
                <a:sym typeface="Wingdings" panose="05000000000000000000" pitchFamily="2" charset="2"/>
              </a:rPr>
              <a:t> </a:t>
            </a:r>
            <a:endParaRPr lang="fr-BE" sz="2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74937"/>
            <a:ext cx="9144000" cy="135486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780" y="3000096"/>
            <a:ext cx="7011813" cy="3000655"/>
          </a:xfrm>
          <a:prstGeom prst="rect">
            <a:avLst/>
          </a:prstGeom>
        </p:spPr>
      </p:pic>
      <p:sp>
        <p:nvSpPr>
          <p:cNvPr id="5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6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61647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74245" y="1295763"/>
            <a:ext cx="4248473" cy="3186355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980728"/>
            <a:ext cx="2708618" cy="361149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77971" y="3220833"/>
            <a:ext cx="3657030" cy="2742773"/>
          </a:xfrm>
          <a:prstGeom prst="rect">
            <a:avLst/>
          </a:prstGeom>
        </p:spPr>
      </p:pic>
      <p:sp>
        <p:nvSpPr>
          <p:cNvPr id="10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2"/>
            <a:ext cx="2592288" cy="576063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1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049951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51520" y="367081"/>
            <a:ext cx="60599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71513" lvl="1" indent="-214313">
              <a:buFontTx/>
              <a:buChar char="-"/>
            </a:pPr>
            <a:r>
              <a:rPr lang="fr-BE" sz="2000" dirty="0"/>
              <a:t>Manutention et pose du pylône en duo-lift.</a:t>
            </a:r>
          </a:p>
          <a:p>
            <a:endParaRPr lang="fr-BE" sz="2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825" y="943144"/>
            <a:ext cx="2589363" cy="4579086"/>
          </a:xfrm>
          <a:prstGeom prst="rect">
            <a:avLst/>
          </a:prstGeom>
        </p:spPr>
      </p:pic>
      <p:sp>
        <p:nvSpPr>
          <p:cNvPr id="5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6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31873" y="1602307"/>
            <a:ext cx="5088565" cy="381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384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596336" y="256291"/>
            <a:ext cx="1032148" cy="298995"/>
          </a:xfrm>
          <a:prstGeom prst="rect">
            <a:avLst/>
          </a:prstGeom>
          <a:noFill/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11560" y="773488"/>
            <a:ext cx="8160940" cy="2000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BE" altLang="fr-FR" sz="2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) Objet du marché :</a:t>
            </a: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endParaRPr lang="fr-BE" altLang="fr-FR" sz="1600" b="1" dirty="0">
              <a:solidFill>
                <a:schemeClr val="accent6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BE" altLang="fr-FR" sz="16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’accès à la gare autobus depuis la place Léopold est constitué d’une rampe rectiligne sur structure en béton d’environ 250 m prolongée par un ouvrage d’art courbe (</a:t>
            </a:r>
            <a:r>
              <a:rPr lang="fr-BE" altLang="fr-FR" sz="1600" b="1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thoïde</a:t>
            </a:r>
            <a:r>
              <a:rPr lang="fr-BE" altLang="fr-FR" sz="16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élicoïdale) de type pont haubané d’environ 80 m de portée donnant accès à la gare autobus.</a:t>
            </a:r>
          </a:p>
          <a:p>
            <a:pPr lvl="2" eaLnBrk="0" fontAlgn="base" hangingPunct="0">
              <a:spcBef>
                <a:spcPct val="0"/>
              </a:spcBef>
              <a:spcAft>
                <a:spcPct val="0"/>
              </a:spcAft>
            </a:pPr>
            <a:endParaRPr lang="fr-BE" altLang="fr-FR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0" y="36957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BE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75057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BE"/>
          </a:p>
        </p:txBody>
      </p:sp>
      <p:pic>
        <p:nvPicPr>
          <p:cNvPr id="8" name="Imag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564904"/>
            <a:ext cx="8185520" cy="396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35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7690" y="1695109"/>
            <a:ext cx="3925556" cy="2944167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251521" y="588892"/>
            <a:ext cx="61056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71513" lvl="1" indent="-214313">
              <a:buFontTx/>
              <a:buChar char="-"/>
            </a:pPr>
            <a:r>
              <a:rPr lang="fr-BE" sz="2000" dirty="0"/>
              <a:t>Réglage et blocage en rotation du mât.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2247" y="1624867"/>
            <a:ext cx="4325608" cy="3699533"/>
          </a:xfrm>
          <a:prstGeom prst="rect">
            <a:avLst/>
          </a:prstGeom>
        </p:spPr>
      </p:pic>
      <p:sp>
        <p:nvSpPr>
          <p:cNvPr id="3" name="Flèche courbée vers le haut 2"/>
          <p:cNvSpPr/>
          <p:nvPr/>
        </p:nvSpPr>
        <p:spPr>
          <a:xfrm rot="15001358">
            <a:off x="5659621" y="2703251"/>
            <a:ext cx="959483" cy="376642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>
              <a:solidFill>
                <a:schemeClr val="tx1"/>
              </a:solidFill>
            </a:endParaRPr>
          </a:p>
        </p:txBody>
      </p:sp>
      <p:sp>
        <p:nvSpPr>
          <p:cNvPr id="7" name="Flèche courbée vers la gauche 6"/>
          <p:cNvSpPr/>
          <p:nvPr/>
        </p:nvSpPr>
        <p:spPr>
          <a:xfrm rot="7858974">
            <a:off x="4801285" y="2963417"/>
            <a:ext cx="509194" cy="102243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>
              <a:solidFill>
                <a:schemeClr val="tx1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501" y="4025844"/>
            <a:ext cx="3243897" cy="2262647"/>
          </a:xfrm>
          <a:prstGeom prst="rect">
            <a:avLst/>
          </a:prstGeom>
        </p:spPr>
      </p:pic>
      <p:sp>
        <p:nvSpPr>
          <p:cNvPr id="9" name="Double flèche horizontale 8"/>
          <p:cNvSpPr/>
          <p:nvPr/>
        </p:nvSpPr>
        <p:spPr>
          <a:xfrm>
            <a:off x="1546683" y="6288240"/>
            <a:ext cx="957532" cy="26720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10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2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2796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9100" y="2008877"/>
            <a:ext cx="2760215" cy="309919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-108520" y="433923"/>
            <a:ext cx="7992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fr-BE" sz="2000" dirty="0"/>
              <a:t>- Mise en place du </a:t>
            </a:r>
            <a:r>
              <a:rPr lang="fr-BE" sz="2000" dirty="0" err="1"/>
              <a:t>buton</a:t>
            </a:r>
            <a:r>
              <a:rPr lang="fr-BE" sz="2000" dirty="0"/>
              <a:t> provisoire.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840" y="1519799"/>
            <a:ext cx="1688621" cy="424969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 rot="226125">
            <a:off x="802397" y="2457519"/>
            <a:ext cx="84369" cy="31766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7" name="Flèche droite 6"/>
          <p:cNvSpPr/>
          <p:nvPr/>
        </p:nvSpPr>
        <p:spPr>
          <a:xfrm rot="1493420">
            <a:off x="621373" y="4008049"/>
            <a:ext cx="446417" cy="5164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8" name="Ellipse 7"/>
          <p:cNvSpPr/>
          <p:nvPr/>
        </p:nvSpPr>
        <p:spPr>
          <a:xfrm>
            <a:off x="3144329" y="4512693"/>
            <a:ext cx="439947" cy="3558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9" name="Ellipse 8"/>
          <p:cNvSpPr/>
          <p:nvPr/>
        </p:nvSpPr>
        <p:spPr>
          <a:xfrm>
            <a:off x="4077619" y="4594499"/>
            <a:ext cx="284672" cy="274034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1" name="Connecteur droit avec flèche 10"/>
          <p:cNvCxnSpPr/>
          <p:nvPr/>
        </p:nvCxnSpPr>
        <p:spPr>
          <a:xfrm flipV="1">
            <a:off x="3060220" y="4690613"/>
            <a:ext cx="304082" cy="63727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2519992" y="5386118"/>
            <a:ext cx="779612" cy="3000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Manitou</a:t>
            </a:r>
          </a:p>
        </p:txBody>
      </p:sp>
      <p:cxnSp>
        <p:nvCxnSpPr>
          <p:cNvPr id="13" name="Connecteur droit avec flèche 12"/>
          <p:cNvCxnSpPr/>
          <p:nvPr/>
        </p:nvCxnSpPr>
        <p:spPr>
          <a:xfrm flipV="1">
            <a:off x="3938497" y="4690613"/>
            <a:ext cx="221592" cy="6735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/>
        </p:nvSpPr>
        <p:spPr>
          <a:xfrm>
            <a:off x="3398268" y="5422343"/>
            <a:ext cx="1064284" cy="3000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Nacelle</a:t>
            </a: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0304" y="1512805"/>
            <a:ext cx="2891871" cy="224267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9870" y="3691304"/>
            <a:ext cx="2635323" cy="2078191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146157" y="3644647"/>
            <a:ext cx="868101" cy="10459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17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20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799788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7573" y="4272204"/>
            <a:ext cx="2823889" cy="211791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8901" y="2092219"/>
            <a:ext cx="1749462" cy="1312097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97742" y="1938963"/>
            <a:ext cx="5064750" cy="379856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053942" y="1808523"/>
            <a:ext cx="3881614" cy="2911210"/>
          </a:xfrm>
          <a:prstGeom prst="rect">
            <a:avLst/>
          </a:prstGeom>
        </p:spPr>
      </p:pic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116632"/>
            <a:ext cx="2592288" cy="576063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642853" y="646691"/>
            <a:ext cx="85011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Stabilisation du mât à l’aide de deux câbles provisoires ainsi que d’un </a:t>
            </a:r>
            <a:r>
              <a:rPr lang="fr-FR" dirty="0" err="1"/>
              <a:t>buton</a:t>
            </a:r>
            <a:r>
              <a:rPr lang="fr-FR" dirty="0"/>
              <a:t> de support provisoire.</a:t>
            </a:r>
          </a:p>
          <a:p>
            <a:endParaRPr lang="fr-BE" dirty="0"/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942108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226125">
            <a:off x="802397" y="2457519"/>
            <a:ext cx="84369" cy="31766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12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55576" y="519410"/>
            <a:ext cx="80648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Tx/>
              <a:buChar char="-"/>
            </a:pPr>
            <a:r>
              <a:rPr lang="fr-BE" dirty="0"/>
              <a:t>Mise en place des haubans provisoires TSR10 et TSP10 préalablement accrochés au mât dans les systèmes de mise en tension.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97846" y="1552784"/>
            <a:ext cx="4536504" cy="3402378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391509"/>
            <a:ext cx="4937892" cy="3703419"/>
          </a:xfrm>
          <a:prstGeom prst="rect">
            <a:avLst/>
          </a:prstGeom>
        </p:spPr>
      </p:pic>
      <p:sp>
        <p:nvSpPr>
          <p:cNvPr id="22" name="ZoneTexte 21"/>
          <p:cNvSpPr txBox="1"/>
          <p:nvPr/>
        </p:nvSpPr>
        <p:spPr>
          <a:xfrm>
            <a:off x="843303" y="5684606"/>
            <a:ext cx="8300697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Mise en tension des haubans provisoires TSR10 (50kN) et TSP10 (42kN)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1350" dirty="0"/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96788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31768" y="476672"/>
            <a:ext cx="7788161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Blocage en traction du </a:t>
            </a:r>
            <a:r>
              <a:rPr lang="fr-BE" sz="2000" dirty="0" err="1"/>
              <a:t>buton</a:t>
            </a:r>
            <a:r>
              <a:rPr lang="fr-BE" sz="2000" dirty="0"/>
              <a:t> provisoire le 07/04</a:t>
            </a:r>
          </a:p>
          <a:p>
            <a:endParaRPr lang="fr-BE" sz="1350" dirty="0"/>
          </a:p>
        </p:txBody>
      </p:sp>
      <p:sp>
        <p:nvSpPr>
          <p:cNvPr id="5" name="Rectangle 4"/>
          <p:cNvSpPr/>
          <p:nvPr/>
        </p:nvSpPr>
        <p:spPr>
          <a:xfrm rot="226125">
            <a:off x="802397" y="2457519"/>
            <a:ext cx="84369" cy="31766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44" y="1906593"/>
            <a:ext cx="3760058" cy="3667997"/>
          </a:xfrm>
          <a:prstGeom prst="rect">
            <a:avLst/>
          </a:prstGeom>
        </p:spPr>
      </p:pic>
      <p:sp>
        <p:nvSpPr>
          <p:cNvPr id="6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25520" y="1804038"/>
            <a:ext cx="5511936" cy="4133952"/>
          </a:xfrm>
          <a:prstGeom prst="rect">
            <a:avLst/>
          </a:prstGeom>
        </p:spPr>
      </p:pic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4154573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6" y="576062"/>
            <a:ext cx="8388424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Délestage de la grue dès position approximative et état d’équilibre atteint.</a:t>
            </a:r>
          </a:p>
          <a:p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Vérification géométrique.</a:t>
            </a:r>
          </a:p>
          <a:p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pPr marL="214313" indent="-214313">
              <a:buFontTx/>
              <a:buChar char="-"/>
            </a:pPr>
            <a:endParaRPr lang="fr-BE" sz="1500" dirty="0"/>
          </a:p>
          <a:p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Adaptation géométrique (réglage avec TSR10 et TSP10 permettant d’atteindre une précision au millimètre)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 Ce réglage a pu être contrôlé grâce à une mire monitorée située sur la tête du mât.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2024844"/>
            <a:ext cx="5309432" cy="2654716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>
            <a:off x="3420319" y="3600451"/>
            <a:ext cx="112853" cy="1128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0" name="Connecteur droit avec flèche 9"/>
          <p:cNvCxnSpPr/>
          <p:nvPr/>
        </p:nvCxnSpPr>
        <p:spPr>
          <a:xfrm flipV="1">
            <a:off x="3420319" y="2220169"/>
            <a:ext cx="9099" cy="13716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/>
          <p:cNvCxnSpPr/>
          <p:nvPr/>
        </p:nvCxnSpPr>
        <p:spPr>
          <a:xfrm flipH="1">
            <a:off x="3516645" y="2220169"/>
            <a:ext cx="1891626" cy="139680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/>
          <p:cNvSpPr txBox="1"/>
          <p:nvPr/>
        </p:nvSpPr>
        <p:spPr>
          <a:xfrm>
            <a:off x="5408271" y="1977795"/>
            <a:ext cx="1838469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Position de la station automatique pour la vérification géométrique</a:t>
            </a:r>
          </a:p>
        </p:txBody>
      </p:sp>
      <p:sp>
        <p:nvSpPr>
          <p:cNvPr id="9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1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3079194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669627" y="420884"/>
            <a:ext cx="793482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FR" sz="2000" dirty="0"/>
              <a:t>Décrochage de la grue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Mise en place du câble HP Parking préalablement accroché au pylône dans le système de mise en tension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2231" y="1746321"/>
            <a:ext cx="1498164" cy="4711517"/>
          </a:xfrm>
          <a:prstGeom prst="rect">
            <a:avLst/>
          </a:prstGeom>
        </p:spPr>
      </p:pic>
      <p:sp>
        <p:nvSpPr>
          <p:cNvPr id="5" name="Flèche droite à entaille 4"/>
          <p:cNvSpPr/>
          <p:nvPr/>
        </p:nvSpPr>
        <p:spPr>
          <a:xfrm>
            <a:off x="355851" y="3830001"/>
            <a:ext cx="705210" cy="401129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1551" y="1731747"/>
            <a:ext cx="1384404" cy="427728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878214" y="6009032"/>
            <a:ext cx="453425" cy="448805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4" name="Connecteur droit avec flèche 13"/>
          <p:cNvCxnSpPr/>
          <p:nvPr/>
        </p:nvCxnSpPr>
        <p:spPr>
          <a:xfrm flipH="1">
            <a:off x="1331639" y="3870390"/>
            <a:ext cx="2016226" cy="20068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2"/>
          <p:cNvSpPr txBox="1">
            <a:spLocks/>
          </p:cNvSpPr>
          <p:nvPr/>
        </p:nvSpPr>
        <p:spPr>
          <a:xfrm>
            <a:off x="755576" y="0"/>
            <a:ext cx="1088931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6. Mât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343975" y="2112482"/>
            <a:ext cx="4704522" cy="3528392"/>
          </a:xfrm>
          <a:prstGeom prst="rect">
            <a:avLst/>
          </a:prstGeom>
        </p:spPr>
      </p:pic>
      <p:pic>
        <p:nvPicPr>
          <p:cNvPr id="13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82152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76377" y="481667"/>
            <a:ext cx="8061384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Système de mise en tension des haubans. </a:t>
            </a:r>
          </a:p>
          <a:p>
            <a:endParaRPr lang="fr-BE" sz="1350" dirty="0"/>
          </a:p>
        </p:txBody>
      </p:sp>
      <p:sp>
        <p:nvSpPr>
          <p:cNvPr id="17" name="Espace réservé du texte 2"/>
          <p:cNvSpPr txBox="1">
            <a:spLocks/>
          </p:cNvSpPr>
          <p:nvPr/>
        </p:nvSpPr>
        <p:spPr>
          <a:xfrm>
            <a:off x="755576" y="0"/>
            <a:ext cx="1944216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6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53065"/>
            <a:ext cx="9144000" cy="41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028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23528" y="764704"/>
            <a:ext cx="8795739" cy="4287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Installation du matériel de déroulage et livraison des câbles.</a:t>
            </a:r>
          </a:p>
          <a:p>
            <a:endParaRPr lang="fr-BE" sz="2000" dirty="0"/>
          </a:p>
          <a:p>
            <a:endParaRPr lang="fr-BE" sz="2000" dirty="0"/>
          </a:p>
          <a:p>
            <a:endParaRPr lang="fr-BE" sz="2000" u="sng" dirty="0">
              <a:solidFill>
                <a:srgbClr val="FF0000"/>
              </a:solidFill>
            </a:endParaRPr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pPr marL="214313" indent="-214313">
              <a:buFontTx/>
              <a:buChar char="-"/>
            </a:pPr>
            <a:endParaRPr lang="fr-BE" sz="1350" dirty="0"/>
          </a:p>
          <a:p>
            <a:endParaRPr lang="fr-BE" sz="1350" dirty="0"/>
          </a:p>
          <a:p>
            <a:endParaRPr lang="fr-BE" sz="1350" dirty="0"/>
          </a:p>
          <a:p>
            <a:endParaRPr lang="fr-BE" sz="1350" dirty="0"/>
          </a:p>
          <a:p>
            <a:endParaRPr lang="fr-BE" sz="1350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803804"/>
            <a:ext cx="4596675" cy="19090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807" y="4128197"/>
            <a:ext cx="4071938" cy="20645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Ellipse 6"/>
          <p:cNvSpPr/>
          <p:nvPr/>
        </p:nvSpPr>
        <p:spPr>
          <a:xfrm>
            <a:off x="714376" y="2150269"/>
            <a:ext cx="192881" cy="1714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9" name="Connecteur droit avec flèche 8"/>
          <p:cNvCxnSpPr/>
          <p:nvPr/>
        </p:nvCxnSpPr>
        <p:spPr>
          <a:xfrm>
            <a:off x="920741" y="2207605"/>
            <a:ext cx="2971800" cy="507206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/>
          <p:cNvSpPr/>
          <p:nvPr/>
        </p:nvSpPr>
        <p:spPr>
          <a:xfrm>
            <a:off x="1221582" y="4593902"/>
            <a:ext cx="192881" cy="1714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1" name="Connecteur droit avec flèche 10"/>
          <p:cNvCxnSpPr/>
          <p:nvPr/>
        </p:nvCxnSpPr>
        <p:spPr>
          <a:xfrm>
            <a:off x="1565983" y="4692182"/>
            <a:ext cx="2978013" cy="290996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/>
        </p:nvSpPr>
        <p:spPr>
          <a:xfrm>
            <a:off x="1993107" y="3250407"/>
            <a:ext cx="928688" cy="5078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Table de déroulage</a:t>
            </a:r>
          </a:p>
        </p:txBody>
      </p:sp>
      <p:cxnSp>
        <p:nvCxnSpPr>
          <p:cNvPr id="16" name="Connecteur droit avec flèche 15"/>
          <p:cNvCxnSpPr>
            <a:endCxn id="7" idx="5"/>
          </p:cNvCxnSpPr>
          <p:nvPr/>
        </p:nvCxnSpPr>
        <p:spPr>
          <a:xfrm flipH="1" flipV="1">
            <a:off x="879010" y="2296610"/>
            <a:ext cx="1114097" cy="95379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/>
          <p:cNvCxnSpPr>
            <a:endCxn id="10" idx="7"/>
          </p:cNvCxnSpPr>
          <p:nvPr/>
        </p:nvCxnSpPr>
        <p:spPr>
          <a:xfrm flipH="1">
            <a:off x="1386216" y="3250406"/>
            <a:ext cx="606891" cy="136860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0461" y="1630890"/>
            <a:ext cx="2686050" cy="1835944"/>
          </a:xfrm>
          <a:prstGeom prst="rect">
            <a:avLst/>
          </a:prstGeom>
        </p:spPr>
      </p:pic>
      <p:cxnSp>
        <p:nvCxnSpPr>
          <p:cNvPr id="21" name="Connecteur droit avec flèche 20"/>
          <p:cNvCxnSpPr>
            <a:stCxn id="14" idx="3"/>
          </p:cNvCxnSpPr>
          <p:nvPr/>
        </p:nvCxnSpPr>
        <p:spPr>
          <a:xfrm flipV="1">
            <a:off x="2921795" y="2575323"/>
            <a:ext cx="2950368" cy="929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60032" y="4488446"/>
            <a:ext cx="4115794" cy="1560316"/>
          </a:xfrm>
          <a:prstGeom prst="rect">
            <a:avLst/>
          </a:prstGeom>
        </p:spPr>
      </p:pic>
      <p:sp>
        <p:nvSpPr>
          <p:cNvPr id="15" name="Espace réservé du texte 2"/>
          <p:cNvSpPr txBox="1">
            <a:spLocks/>
          </p:cNvSpPr>
          <p:nvPr/>
        </p:nvSpPr>
        <p:spPr>
          <a:xfrm>
            <a:off x="323528" y="0"/>
            <a:ext cx="2232248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661418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899593" y="508079"/>
            <a:ext cx="79864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Accrochage sur le pylône des haubans CP12 et CR12. </a:t>
            </a:r>
          </a:p>
          <a:p>
            <a:endParaRPr lang="fr-BE" sz="2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2446" y="1159263"/>
            <a:ext cx="5436121" cy="2701785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4550" y="3951148"/>
            <a:ext cx="3938941" cy="2649704"/>
          </a:xfrm>
          <a:prstGeom prst="rect">
            <a:avLst/>
          </a:prstGeom>
        </p:spPr>
      </p:pic>
      <p:sp>
        <p:nvSpPr>
          <p:cNvPr id="6" name="Espace réservé du texte 2"/>
          <p:cNvSpPr txBox="1">
            <a:spLocks/>
          </p:cNvSpPr>
          <p:nvPr/>
        </p:nvSpPr>
        <p:spPr>
          <a:xfrm>
            <a:off x="755576" y="0"/>
            <a:ext cx="1872208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15523" y="1819476"/>
            <a:ext cx="4088471" cy="306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067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583188" y="504577"/>
            <a:ext cx="4780900" cy="692175"/>
          </a:xfrm>
        </p:spPr>
        <p:txBody>
          <a:bodyPr>
            <a:normAutofit/>
          </a:bodyPr>
          <a:lstStyle/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740352" y="260648"/>
            <a:ext cx="1032148" cy="298995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927417" y="504577"/>
            <a:ext cx="44366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pe transversale type :</a:t>
            </a:r>
            <a:endParaRPr lang="fr-BE" sz="2000" u="sng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BE" sz="20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fr-BE" sz="16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96752"/>
            <a:ext cx="9145708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3353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76377" y="481667"/>
            <a:ext cx="8061384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Accrochage sur le système de mise en tension des haubans CP12 et CR12. </a:t>
            </a:r>
          </a:p>
          <a:p>
            <a:endParaRPr lang="fr-BE" sz="1350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099" y="1594321"/>
            <a:ext cx="4596675" cy="1909083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>
            <a:off x="646982" y="2238556"/>
            <a:ext cx="258792" cy="2005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8" name="ZoneTexte 7"/>
          <p:cNvSpPr txBox="1"/>
          <p:nvPr/>
        </p:nvSpPr>
        <p:spPr>
          <a:xfrm>
            <a:off x="400994" y="2979348"/>
            <a:ext cx="808726" cy="3000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Manitou</a:t>
            </a:r>
          </a:p>
        </p:txBody>
      </p:sp>
      <p:cxnSp>
        <p:nvCxnSpPr>
          <p:cNvPr id="10" name="Connecteur droit avec flèche 9"/>
          <p:cNvCxnSpPr>
            <a:endCxn id="7" idx="4"/>
          </p:cNvCxnSpPr>
          <p:nvPr/>
        </p:nvCxnSpPr>
        <p:spPr>
          <a:xfrm flipV="1">
            <a:off x="731089" y="2439120"/>
            <a:ext cx="45289" cy="5402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993" y="3561631"/>
            <a:ext cx="4071938" cy="2064544"/>
          </a:xfrm>
          <a:prstGeom prst="rect">
            <a:avLst/>
          </a:prstGeom>
        </p:spPr>
      </p:pic>
      <p:sp>
        <p:nvSpPr>
          <p:cNvPr id="12" name="Ellipse 11"/>
          <p:cNvSpPr/>
          <p:nvPr/>
        </p:nvSpPr>
        <p:spPr>
          <a:xfrm>
            <a:off x="4119114" y="4297033"/>
            <a:ext cx="258792" cy="2005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4" name="Connecteur droit avec flèche 13"/>
          <p:cNvCxnSpPr>
            <a:endCxn id="12" idx="2"/>
          </p:cNvCxnSpPr>
          <p:nvPr/>
        </p:nvCxnSpPr>
        <p:spPr>
          <a:xfrm>
            <a:off x="976942" y="3256348"/>
            <a:ext cx="3142172" cy="11409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55099" y="1594320"/>
            <a:ext cx="4596675" cy="19090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sp>
        <p:nvSpPr>
          <p:cNvPr id="16" name="Rectangle 15"/>
          <p:cNvSpPr/>
          <p:nvPr/>
        </p:nvSpPr>
        <p:spPr>
          <a:xfrm>
            <a:off x="400993" y="3561631"/>
            <a:ext cx="4071938" cy="20645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350"/>
          </a:p>
        </p:txBody>
      </p:sp>
      <p:cxnSp>
        <p:nvCxnSpPr>
          <p:cNvPr id="19" name="Connecteur droit avec flèche 18"/>
          <p:cNvCxnSpPr>
            <a:stCxn id="7" idx="0"/>
          </p:cNvCxnSpPr>
          <p:nvPr/>
        </p:nvCxnSpPr>
        <p:spPr>
          <a:xfrm flipV="1">
            <a:off x="776377" y="2054165"/>
            <a:ext cx="28979" cy="1843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2" idx="0"/>
          </p:cNvCxnSpPr>
          <p:nvPr/>
        </p:nvCxnSpPr>
        <p:spPr>
          <a:xfrm flipV="1">
            <a:off x="4248510" y="4143914"/>
            <a:ext cx="79794" cy="15311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 flipH="1" flipV="1">
            <a:off x="805356" y="2054165"/>
            <a:ext cx="3762331" cy="841076"/>
          </a:xfrm>
          <a:prstGeom prst="line">
            <a:avLst/>
          </a:prstGeom>
          <a:ln w="28575">
            <a:solidFill>
              <a:srgbClr val="FFFF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 flipV="1">
            <a:off x="1112307" y="4143915"/>
            <a:ext cx="3176101" cy="744517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Imag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6479" y="1662650"/>
            <a:ext cx="1704316" cy="3963525"/>
          </a:xfrm>
          <a:prstGeom prst="rect">
            <a:avLst/>
          </a:prstGeom>
        </p:spPr>
      </p:pic>
      <p:sp>
        <p:nvSpPr>
          <p:cNvPr id="17" name="Espace réservé du texte 2"/>
          <p:cNvSpPr txBox="1">
            <a:spLocks/>
          </p:cNvSpPr>
          <p:nvPr/>
        </p:nvSpPr>
        <p:spPr>
          <a:xfrm>
            <a:off x="755576" y="0"/>
            <a:ext cx="1944216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77207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 txBox="1">
            <a:spLocks/>
          </p:cNvSpPr>
          <p:nvPr/>
        </p:nvSpPr>
        <p:spPr>
          <a:xfrm>
            <a:off x="755576" y="0"/>
            <a:ext cx="1800200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55576" y="576063"/>
            <a:ext cx="749568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Pour les mises en tensions des haubans, TMI disposait d’un tableau récapitulatif de SC&amp;D reprenant tous les efforts et postions des haubans à 0°, 10° et 20° (vu la sensibilité du système) qui évoluaient à chaque phase de mise en tension des haubans.</a:t>
            </a:r>
            <a:endParaRPr lang="fr-BE" dirty="0"/>
          </a:p>
        </p:txBody>
      </p:sp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776392"/>
            <a:ext cx="8361231" cy="5031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1580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2"/>
          <p:cNvSpPr txBox="1">
            <a:spLocks/>
          </p:cNvSpPr>
          <p:nvPr/>
        </p:nvSpPr>
        <p:spPr>
          <a:xfrm>
            <a:off x="827584" y="-115696"/>
            <a:ext cx="1728192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99592" y="332655"/>
            <a:ext cx="69847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Tx/>
              <a:buChar char="-"/>
            </a:pPr>
            <a:r>
              <a:rPr lang="fr-BE" dirty="0"/>
              <a:t>Première mise en tension des haubans CP12 et CR12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27583" y="5847578"/>
            <a:ext cx="73218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Démontage des haubans provisoires TSR10 et TSP10.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827583" y="6002893"/>
            <a:ext cx="8798943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BE" sz="1350" dirty="0"/>
          </a:p>
          <a:p>
            <a:pPr marL="214313" indent="-214313">
              <a:buFontTx/>
              <a:buChar char="-"/>
            </a:pPr>
            <a:r>
              <a:rPr lang="fr-BE" sz="2000" dirty="0"/>
              <a:t>Mise en tension définitive des haubans CP12 et CR12 suivant la procédure.</a:t>
            </a:r>
          </a:p>
        </p:txBody>
      </p:sp>
      <p:pic>
        <p:nvPicPr>
          <p:cNvPr id="10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710736"/>
            <a:ext cx="3858360" cy="5144481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710736"/>
            <a:ext cx="4421054" cy="331579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717" y="3862582"/>
            <a:ext cx="1728192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032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7" y="576063"/>
            <a:ext cx="7992888" cy="6147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  Pose des câbles CP11 et CR11 idem CP12 et CR12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r>
              <a:rPr lang="fr-BE" sz="2000" dirty="0">
                <a:sym typeface="Wingdings" panose="05000000000000000000" pitchFamily="2" charset="2"/>
              </a:rPr>
              <a:t>  Démontage du blocage en traction sur le </a:t>
            </a:r>
            <a:r>
              <a:rPr lang="fr-BE" sz="2000" dirty="0" err="1">
                <a:sym typeface="Wingdings" panose="05000000000000000000" pitchFamily="2" charset="2"/>
              </a:rPr>
              <a:t>buton</a:t>
            </a:r>
            <a:r>
              <a:rPr lang="fr-BE" sz="2000" dirty="0">
                <a:sym typeface="Wingdings" panose="05000000000000000000" pitchFamily="2" charset="2"/>
              </a:rPr>
              <a:t> provisoire.</a:t>
            </a: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FR" sz="2000" dirty="0"/>
          </a:p>
          <a:p>
            <a:endParaRPr lang="fr-FR" sz="2000" dirty="0"/>
          </a:p>
          <a:p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  Mise en tension des câbles CP11 et CR11 idem CP12 et CR12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342900" indent="-342900">
              <a:buFontTx/>
              <a:buChar char="-"/>
            </a:pPr>
            <a:r>
              <a:rPr lang="fr-FR" sz="2000" dirty="0">
                <a:sym typeface="Wingdings" panose="05000000000000000000" pitchFamily="2" charset="2"/>
              </a:rPr>
              <a:t>Après mise en tension des 4 premiers câbles, décollage du </a:t>
            </a:r>
            <a:r>
              <a:rPr lang="fr-FR" sz="2000" dirty="0" err="1">
                <a:sym typeface="Wingdings" panose="05000000000000000000" pitchFamily="2" charset="2"/>
              </a:rPr>
              <a:t>buton</a:t>
            </a:r>
            <a:r>
              <a:rPr lang="fr-FR" sz="2000" dirty="0">
                <a:sym typeface="Wingdings" panose="05000000000000000000" pitchFamily="2" charset="2"/>
              </a:rPr>
              <a:t>  provisoire comme prévu dans le calcul de SC&amp;D!  </a:t>
            </a:r>
          </a:p>
          <a:p>
            <a:pPr marL="342900" indent="-342900">
              <a:buFontTx/>
              <a:buChar char="-"/>
            </a:pPr>
            <a:r>
              <a:rPr lang="fr-FR" sz="2000" dirty="0">
                <a:sym typeface="Wingdings" panose="05000000000000000000" pitchFamily="2" charset="2"/>
              </a:rPr>
              <a:t>Démontage du </a:t>
            </a:r>
            <a:r>
              <a:rPr lang="fr-FR" sz="2000" dirty="0" err="1">
                <a:sym typeface="Wingdings" panose="05000000000000000000" pitchFamily="2" charset="2"/>
              </a:rPr>
              <a:t>buton</a:t>
            </a:r>
            <a:r>
              <a:rPr lang="fr-FR" sz="2000" dirty="0">
                <a:sym typeface="Wingdings" panose="05000000000000000000" pitchFamily="2" charset="2"/>
              </a:rPr>
              <a:t> provisoire.</a:t>
            </a:r>
            <a:endParaRPr lang="fr-BE" sz="2000" dirty="0"/>
          </a:p>
          <a:p>
            <a:endParaRPr lang="fr-BE" sz="1350" dirty="0"/>
          </a:p>
        </p:txBody>
      </p:sp>
      <p:sp>
        <p:nvSpPr>
          <p:cNvPr id="4" name="Espace réservé du texte 2"/>
          <p:cNvSpPr txBox="1">
            <a:spLocks/>
          </p:cNvSpPr>
          <p:nvPr/>
        </p:nvSpPr>
        <p:spPr>
          <a:xfrm>
            <a:off x="755576" y="0"/>
            <a:ext cx="1800200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1607115"/>
            <a:ext cx="2330790" cy="310771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617073" y="1992350"/>
            <a:ext cx="3081881" cy="231141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437" y="2780928"/>
            <a:ext cx="2512418" cy="244358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3377" y="1484784"/>
            <a:ext cx="2042398" cy="1583901"/>
          </a:xfrm>
          <a:prstGeom prst="rect">
            <a:avLst/>
          </a:prstGeom>
        </p:spPr>
      </p:pic>
      <p:pic>
        <p:nvPicPr>
          <p:cNvPr id="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702512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2"/>
          <p:cNvSpPr txBox="1">
            <a:spLocks/>
          </p:cNvSpPr>
          <p:nvPr/>
        </p:nvSpPr>
        <p:spPr>
          <a:xfrm>
            <a:off x="827584" y="-115696"/>
            <a:ext cx="1728192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0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5349" y="2636912"/>
            <a:ext cx="2815161" cy="3753547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66" y="911819"/>
            <a:ext cx="3701820" cy="493575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742" y="631547"/>
            <a:ext cx="3384376" cy="253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398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7" y="576063"/>
            <a:ext cx="8136904" cy="70711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Contrôle géométrique et adaptation de la position avec les 4 câbles déjà posés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Placements et mise en tension des haubans CP/CR10 à CP/CR7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r>
              <a:rPr lang="fr-BE" sz="2000" dirty="0">
                <a:sym typeface="Wingdings" panose="05000000000000000000" pitchFamily="2" charset="2"/>
              </a:rPr>
              <a:t>Mesurage des efforts dans les haubans CP/CR12 à CP/CR07 </a:t>
            </a:r>
            <a:r>
              <a:rPr lang="fr-FR" sz="2000" dirty="0">
                <a:sym typeface="Wingdings" panose="05000000000000000000" pitchFamily="2" charset="2"/>
              </a:rPr>
              <a:t>Contrôle des efforts réalisé par Rafale Engineering.</a:t>
            </a:r>
          </a:p>
          <a:p>
            <a:endParaRPr lang="fr-FR" sz="2000" dirty="0">
              <a:sym typeface="Wingdings" panose="05000000000000000000" pitchFamily="2" charset="2"/>
            </a:endParaRPr>
          </a:p>
          <a:p>
            <a:endParaRPr lang="fr-FR" sz="2000" dirty="0">
              <a:sym typeface="Wingdings" panose="05000000000000000000" pitchFamily="2" charset="2"/>
            </a:endParaRPr>
          </a:p>
          <a:p>
            <a:endParaRPr lang="fr-FR" sz="2000" dirty="0">
              <a:sym typeface="Wingdings" panose="05000000000000000000" pitchFamily="2" charset="2"/>
            </a:endParaRPr>
          </a:p>
          <a:p>
            <a:endParaRPr lang="fr-FR" sz="2000" i="1" dirty="0">
              <a:sym typeface="Wingdings" panose="05000000000000000000" pitchFamily="2" charset="2"/>
            </a:endParaRPr>
          </a:p>
          <a:p>
            <a:endParaRPr lang="fr-FR" sz="2000" dirty="0">
              <a:sym typeface="Wingdings" panose="05000000000000000000" pitchFamily="2" charset="2"/>
            </a:endParaRPr>
          </a:p>
          <a:p>
            <a:endParaRPr lang="fr-BE" sz="2000" dirty="0">
              <a:sym typeface="Wingdings" panose="05000000000000000000" pitchFamily="2" charset="2"/>
            </a:endParaRPr>
          </a:p>
          <a:p>
            <a:endParaRPr lang="fr-BE" sz="2000" u="sng" dirty="0">
              <a:sym typeface="Wingdings" panose="05000000000000000000" pitchFamily="2" charset="2"/>
            </a:endParaRPr>
          </a:p>
          <a:p>
            <a:r>
              <a:rPr lang="fr-BE" sz="2000" u="sng" dirty="0">
                <a:sym typeface="Wingdings" panose="05000000000000000000" pitchFamily="2" charset="2"/>
              </a:rPr>
              <a:t>Résultats : </a:t>
            </a:r>
          </a:p>
          <a:p>
            <a:r>
              <a:rPr lang="fr-BE" sz="2000" dirty="0">
                <a:sym typeface="Wingdings" panose="05000000000000000000" pitchFamily="2" charset="2"/>
              </a:rPr>
              <a:t>1) OK, continuer la procédure comme prévu;</a:t>
            </a:r>
          </a:p>
          <a:p>
            <a:r>
              <a:rPr lang="fr-BE" sz="2000" dirty="0">
                <a:sym typeface="Wingdings" panose="05000000000000000000" pitchFamily="2" charset="2"/>
              </a:rPr>
              <a:t>2) Déviation significative  Modifier les tensions </a:t>
            </a:r>
            <a:r>
              <a:rPr lang="fr-BE" sz="2000" u="sng" dirty="0">
                <a:sym typeface="Wingdings" panose="05000000000000000000" pitchFamily="2" charset="2"/>
              </a:rPr>
              <a:t>à mettre </a:t>
            </a:r>
            <a:r>
              <a:rPr lang="fr-BE" sz="2000" dirty="0">
                <a:sym typeface="Wingdings" panose="05000000000000000000" pitchFamily="2" charset="2"/>
              </a:rPr>
              <a:t>dans les câbles CP/CR6 à CP/CR1</a:t>
            </a:r>
          </a:p>
          <a:p>
            <a:r>
              <a:rPr lang="fr-BE" sz="2000" dirty="0">
                <a:sym typeface="Wingdings" panose="05000000000000000000" pitchFamily="2" charset="2"/>
              </a:rPr>
              <a:t>3) Déviation significative  Modifier les tensions</a:t>
            </a:r>
            <a:r>
              <a:rPr lang="fr-BE" sz="2000" u="sng" dirty="0">
                <a:sym typeface="Wingdings" panose="05000000000000000000" pitchFamily="2" charset="2"/>
              </a:rPr>
              <a:t> présentes </a:t>
            </a:r>
            <a:r>
              <a:rPr lang="fr-BE" sz="2000" dirty="0">
                <a:sym typeface="Wingdings" panose="05000000000000000000" pitchFamily="2" charset="2"/>
              </a:rPr>
              <a:t>dans les câbles CP/CR12 à CP/CR7</a:t>
            </a:r>
          </a:p>
          <a:p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endParaRPr lang="fr-BE" sz="1350" dirty="0"/>
          </a:p>
        </p:txBody>
      </p:sp>
      <p:sp>
        <p:nvSpPr>
          <p:cNvPr id="3" name="Espace réservé du texte 2"/>
          <p:cNvSpPr txBox="1">
            <a:spLocks/>
          </p:cNvSpPr>
          <p:nvPr/>
        </p:nvSpPr>
        <p:spPr>
          <a:xfrm>
            <a:off x="755576" y="0"/>
            <a:ext cx="1800200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7864" y="2492896"/>
            <a:ext cx="4930332" cy="2291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9638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7" y="576063"/>
            <a:ext cx="8064896" cy="1838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000" dirty="0"/>
              <a:t>- Après mise en tension de ces 6 premières paires de haubans,  contrôle des efforts dans tous les câbles et réalisation d’un pesage aux différents appuis (C15-A1, C15-A2, PT05, PT10) afin de vérifier la bonne correspondance avec les calculs de SC&amp;D.</a:t>
            </a:r>
            <a:endParaRPr lang="fr-BE" sz="2000" u="sng" dirty="0">
              <a:solidFill>
                <a:srgbClr val="FF0000"/>
              </a:solidFill>
            </a:endParaRP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endParaRPr lang="fr-BE" sz="1350" dirty="0"/>
          </a:p>
        </p:txBody>
      </p:sp>
      <p:sp>
        <p:nvSpPr>
          <p:cNvPr id="3" name="Espace réservé du texte 2"/>
          <p:cNvSpPr txBox="1">
            <a:spLocks/>
          </p:cNvSpPr>
          <p:nvPr/>
        </p:nvSpPr>
        <p:spPr>
          <a:xfrm>
            <a:off x="755576" y="0"/>
            <a:ext cx="1800200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519" y="3957712"/>
            <a:ext cx="3840427" cy="288032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866500"/>
            <a:ext cx="3213508" cy="241013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518" y="3728102"/>
            <a:ext cx="3889955" cy="2917466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308" y="1556792"/>
            <a:ext cx="2979450" cy="2234587"/>
          </a:xfrm>
          <a:prstGeom prst="rect">
            <a:avLst/>
          </a:prstGeom>
        </p:spPr>
      </p:pic>
      <p:pic>
        <p:nvPicPr>
          <p:cNvPr id="8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20552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 txBox="1">
            <a:spLocks/>
          </p:cNvSpPr>
          <p:nvPr/>
        </p:nvSpPr>
        <p:spPr>
          <a:xfrm>
            <a:off x="755576" y="0"/>
            <a:ext cx="1872208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26723"/>
            <a:ext cx="9144000" cy="4204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9699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755576" y="288031"/>
            <a:ext cx="8064895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Validation pour 2</a:t>
            </a:r>
            <a:r>
              <a:rPr lang="fr-BE" sz="2000" baseline="30000" dirty="0"/>
              <a:t>ème</a:t>
            </a:r>
            <a:r>
              <a:rPr lang="fr-BE" sz="2000" dirty="0"/>
              <a:t> phase de post-contrainte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2</a:t>
            </a:r>
            <a:r>
              <a:rPr lang="fr-BE" sz="2000" baseline="30000" dirty="0"/>
              <a:t>ème</a:t>
            </a:r>
            <a:r>
              <a:rPr lang="fr-BE" sz="2000" dirty="0"/>
              <a:t> phase de post-contrainte du tablier par SM FRANKI-DUCHENE</a:t>
            </a:r>
          </a:p>
          <a:p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Placement et mise en tension des haubans CR/CR6 à CP/CR1 de la même manière que les précédents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Vérification géométrie du tablier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Démontage du câble provisoire HP Parking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>
                <a:sym typeface="Wingdings" panose="05000000000000000000" pitchFamily="2" charset="2"/>
              </a:rPr>
              <a:t>Mesurage des efforts dans les haubans CP/CR12 à CP/CR1.</a:t>
            </a: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BE" sz="2000" dirty="0"/>
              <a:t>Réalisation d’un pesage aux différents appuis (C15-A1, C15-A2, PT05, PT10) pour analyse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r>
              <a:rPr lang="fr-BE" sz="2000" dirty="0" err="1">
                <a:sym typeface="Wingdings" panose="05000000000000000000" pitchFamily="2" charset="2"/>
              </a:rPr>
              <a:t>Dévérinage</a:t>
            </a:r>
            <a:r>
              <a:rPr lang="fr-BE" sz="2000" dirty="0">
                <a:sym typeface="Wingdings" panose="05000000000000000000" pitchFamily="2" charset="2"/>
              </a:rPr>
              <a:t> des appuis PT05 et PT10 (avec comparateur pour vérifier les déplacements)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</p:txBody>
      </p:sp>
      <p:sp>
        <p:nvSpPr>
          <p:cNvPr id="3" name="Espace réservé du texte 2"/>
          <p:cNvSpPr txBox="1">
            <a:spLocks/>
          </p:cNvSpPr>
          <p:nvPr/>
        </p:nvSpPr>
        <p:spPr>
          <a:xfrm>
            <a:off x="755576" y="0"/>
            <a:ext cx="1872208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2148622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2"/>
          <p:cNvSpPr txBox="1">
            <a:spLocks/>
          </p:cNvSpPr>
          <p:nvPr/>
        </p:nvSpPr>
        <p:spPr>
          <a:xfrm>
            <a:off x="755576" y="0"/>
            <a:ext cx="1584176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71000"/>
            <a:ext cx="9144000" cy="41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041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1665505"/>
              </p:ext>
            </p:extLst>
          </p:nvPr>
        </p:nvGraphicFramePr>
        <p:xfrm>
          <a:off x="251520" y="692269"/>
          <a:ext cx="8721140" cy="61657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1" name="PDF" r:id="rId4" imgW="0" imgH="360" progId="FoxitReader.Document">
                  <p:embed/>
                </p:oleObj>
              </mc:Choice>
              <mc:Fallback>
                <p:oleObj name="PDF" r:id="rId4" imgW="0" imgH="360" progId="FoxitReader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0" y="692269"/>
                        <a:ext cx="8721140" cy="61657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107504" y="260649"/>
            <a:ext cx="7772400" cy="331453"/>
          </a:xfrm>
        </p:spPr>
        <p:txBody>
          <a:bodyPr>
            <a:normAutofit fontScale="92500" lnSpcReduction="20000"/>
          </a:bodyPr>
          <a:lstStyle/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endParaRPr lang="fr-BE" dirty="0">
              <a:solidFill>
                <a:schemeClr val="tx2"/>
              </a:solidFill>
            </a:endParaRP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7740352" y="260648"/>
            <a:ext cx="1032148" cy="298995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395536" y="504577"/>
            <a:ext cx="82809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ue d’ensemble du pont avec les structures provisoires de montage :</a:t>
            </a:r>
            <a:endParaRPr lang="fr-BE" sz="2000" u="sng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BE" sz="2400" b="1" u="sng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endParaRPr lang="fr-BE" sz="16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88526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840469" y="577907"/>
            <a:ext cx="77639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BE" sz="2000" dirty="0"/>
              <a:t>Découpe du système de blocage en rotation du pylône + traitement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8988" y="1556792"/>
            <a:ext cx="4974611" cy="4254602"/>
          </a:xfrm>
          <a:prstGeom prst="rect">
            <a:avLst/>
          </a:prstGeom>
        </p:spPr>
      </p:pic>
      <p:cxnSp>
        <p:nvCxnSpPr>
          <p:cNvPr id="6" name="Connecteur droit avec flèche 5"/>
          <p:cNvCxnSpPr/>
          <p:nvPr/>
        </p:nvCxnSpPr>
        <p:spPr>
          <a:xfrm flipV="1">
            <a:off x="2907506" y="3493294"/>
            <a:ext cx="771525" cy="1293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 flipV="1">
            <a:off x="2907506" y="3364707"/>
            <a:ext cx="1585913" cy="14216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/>
          <p:cNvCxnSpPr/>
          <p:nvPr/>
        </p:nvCxnSpPr>
        <p:spPr>
          <a:xfrm flipV="1">
            <a:off x="2907506" y="4139803"/>
            <a:ext cx="1728788" cy="6465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/>
          <p:nvPr/>
        </p:nvCxnSpPr>
        <p:spPr>
          <a:xfrm flipH="1">
            <a:off x="3700463" y="2171532"/>
            <a:ext cx="2393156" cy="11431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/>
          <p:nvPr/>
        </p:nvCxnSpPr>
        <p:spPr>
          <a:xfrm flipH="1">
            <a:off x="4429125" y="2161668"/>
            <a:ext cx="1664494" cy="10190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/>
          <p:nvPr/>
        </p:nvCxnSpPr>
        <p:spPr>
          <a:xfrm flipH="1">
            <a:off x="4386263" y="2159453"/>
            <a:ext cx="1707356" cy="1393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1878806" y="4786313"/>
            <a:ext cx="1771650" cy="5078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Découpe des 3 plats de blocag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100763" y="1843088"/>
            <a:ext cx="1771650" cy="5078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/>
              <a:t>Découpe des 3 ronds pleins en inox</a:t>
            </a:r>
          </a:p>
        </p:txBody>
      </p:sp>
      <p:sp>
        <p:nvSpPr>
          <p:cNvPr id="12" name="Espace réservé du texte 2"/>
          <p:cNvSpPr txBox="1">
            <a:spLocks/>
          </p:cNvSpPr>
          <p:nvPr/>
        </p:nvSpPr>
        <p:spPr>
          <a:xfrm>
            <a:off x="755576" y="0"/>
            <a:ext cx="1584176" cy="5760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14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0524125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2"/>
          <p:cNvSpPr>
            <a:spLocks noGrp="1"/>
          </p:cNvSpPr>
          <p:nvPr>
            <p:ph type="body" idx="1"/>
          </p:nvPr>
        </p:nvSpPr>
        <p:spPr>
          <a:xfrm>
            <a:off x="683568" y="116632"/>
            <a:ext cx="2736304" cy="576063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683568" y="836713"/>
            <a:ext cx="8136904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Tx/>
              <a:buChar char="-"/>
            </a:pPr>
            <a:r>
              <a:rPr lang="fr-FR" sz="2000" dirty="0"/>
              <a:t>Après </a:t>
            </a:r>
            <a:r>
              <a:rPr lang="fr-FR" sz="2000" dirty="0" err="1"/>
              <a:t>dévérinage</a:t>
            </a:r>
            <a:r>
              <a:rPr lang="fr-FR" sz="2000" dirty="0"/>
              <a:t> des appuis provisoires, recontrôle des efforts dans les haubans, pesage aux appuis définitifs des culées et contrôle des rotations des 2 appuis de la culée côté Gare.</a:t>
            </a:r>
          </a:p>
          <a:p>
            <a:pPr marL="214313" indent="-214313">
              <a:buFontTx/>
              <a:buChar char="-"/>
            </a:pPr>
            <a:endParaRPr lang="fr-FR" sz="2000" dirty="0"/>
          </a:p>
          <a:p>
            <a:pPr marL="214313" indent="-214313">
              <a:buFontTx/>
              <a:buChar char="-"/>
            </a:pPr>
            <a:endParaRPr lang="fr-FR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FR" sz="2000" dirty="0"/>
              <a:t>Comparatif avec les calculs de SC&amp;D.</a:t>
            </a:r>
            <a:endParaRPr lang="fr-BE" sz="2000" dirty="0"/>
          </a:p>
          <a:p>
            <a:endParaRPr lang="fr-BE" sz="2000" dirty="0"/>
          </a:p>
          <a:p>
            <a:pPr marL="214313" indent="-214313">
              <a:buFontTx/>
              <a:buChar char="-"/>
            </a:pPr>
            <a:r>
              <a:rPr lang="fr-FR" sz="2000" dirty="0"/>
              <a:t>Nouvelle intervention de MK4 pour ajuster les efforts dans certains haubans et contrôle en même temps de la position en tête du mât.</a:t>
            </a:r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r>
              <a:rPr lang="fr-FR" sz="2000" dirty="0"/>
              <a:t>Après intervention de MK4, nouveau contrôle des efforts dans les haubans et (pesage et rotation culée).</a:t>
            </a:r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  <a:p>
            <a:r>
              <a:rPr lang="fr-FR" sz="2000" dirty="0">
                <a:sym typeface="Wingdings" panose="05000000000000000000" pitchFamily="2" charset="2"/>
              </a:rPr>
              <a:t>- Ces efforts se sont avérés acceptables par toutes les parties avec tolérance en tête du mât de </a:t>
            </a:r>
            <a:r>
              <a:rPr lang="fr-FR" sz="2000" dirty="0">
                <a:solidFill>
                  <a:srgbClr val="FF0000"/>
                </a:solidFill>
                <a:sym typeface="Wingdings" panose="05000000000000000000" pitchFamily="2" charset="2"/>
              </a:rPr>
              <a:t>+/- 11 mm </a:t>
            </a:r>
            <a:r>
              <a:rPr lang="fr-FR" sz="2000" dirty="0">
                <a:sym typeface="Wingdings" panose="05000000000000000000" pitchFamily="2" charset="2"/>
              </a:rPr>
              <a:t>et efforts dans les haubans à </a:t>
            </a:r>
            <a:r>
              <a:rPr lang="fr-FR" sz="2000" dirty="0">
                <a:solidFill>
                  <a:srgbClr val="FF0000"/>
                </a:solidFill>
                <a:sym typeface="Wingdings" panose="05000000000000000000" pitchFamily="2" charset="2"/>
              </a:rPr>
              <a:t>+/- 5 % </a:t>
            </a:r>
            <a:r>
              <a:rPr lang="fr-FR" sz="2000" dirty="0">
                <a:sym typeface="Wingdings" panose="05000000000000000000" pitchFamily="2" charset="2"/>
              </a:rPr>
              <a:t>des valeurs de calcul sauf pour deux haubans à </a:t>
            </a:r>
            <a:r>
              <a:rPr lang="fr-FR" sz="2000" dirty="0">
                <a:solidFill>
                  <a:srgbClr val="FF0000"/>
                </a:solidFill>
                <a:sym typeface="Wingdings" panose="05000000000000000000" pitchFamily="2" charset="2"/>
              </a:rPr>
              <a:t>+/- 8 %.</a:t>
            </a:r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endParaRPr lang="fr-BE" sz="2000" u="sng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marL="214313" indent="-214313">
              <a:buFontTx/>
              <a:buChar char="-"/>
            </a:pPr>
            <a:endParaRPr lang="fr-BE" sz="2000" dirty="0"/>
          </a:p>
          <a:p>
            <a:pPr marL="214313" indent="-214313">
              <a:buFontTx/>
              <a:buChar char="-"/>
            </a:pPr>
            <a:endParaRPr lang="fr-BE" sz="2000" dirty="0"/>
          </a:p>
        </p:txBody>
      </p:sp>
      <p:pic>
        <p:nvPicPr>
          <p:cNvPr id="5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482" y="1484784"/>
            <a:ext cx="2691418" cy="201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3927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2"/>
          <p:cNvSpPr>
            <a:spLocks noGrp="1"/>
          </p:cNvSpPr>
          <p:nvPr>
            <p:ph type="body" idx="1"/>
          </p:nvPr>
        </p:nvSpPr>
        <p:spPr>
          <a:xfrm>
            <a:off x="683568" y="116632"/>
            <a:ext cx="2736304" cy="576063"/>
          </a:xfrm>
        </p:spPr>
        <p:txBody>
          <a:bodyPr>
            <a:normAutofit/>
          </a:bodyPr>
          <a:lstStyle/>
          <a:p>
            <a:r>
              <a:rPr lang="fr-FR" sz="2400" dirty="0">
                <a:solidFill>
                  <a:srgbClr val="1F497D"/>
                </a:solidFill>
              </a:rPr>
              <a:t>7. Haubans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3" y="1268760"/>
            <a:ext cx="5472608" cy="410445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692695"/>
            <a:ext cx="4158462" cy="5544615"/>
          </a:xfrm>
          <a:prstGeom prst="rect">
            <a:avLst/>
          </a:prstGeom>
        </p:spPr>
      </p:pic>
      <p:pic>
        <p:nvPicPr>
          <p:cNvPr id="5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959511" y="116632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8777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844066" y="692696"/>
            <a:ext cx="7412360" cy="5688632"/>
          </a:xfrm>
        </p:spPr>
        <p:txBody>
          <a:bodyPr>
            <a:normAutofit/>
          </a:bodyPr>
          <a:lstStyle/>
          <a:p>
            <a:pPr marL="0" indent="3175" algn="l">
              <a:buNone/>
            </a:pPr>
            <a:r>
              <a:rPr lang="fr-BE" sz="2800" b="1" dirty="0">
                <a:solidFill>
                  <a:schemeClr val="tx2"/>
                </a:solidFill>
              </a:rPr>
              <a:t>3) Quelques chiffres :</a:t>
            </a:r>
          </a:p>
          <a:p>
            <a:pPr marL="0" indent="3175" algn="l">
              <a:buNone/>
            </a:pPr>
            <a:endParaRPr lang="fr-BE" sz="1600" b="1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Poids total des structures métalliques : 570 tonn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Poutre PRS </a:t>
            </a:r>
            <a:r>
              <a:rPr lang="fr-BE" sz="1600" dirty="0" err="1">
                <a:solidFill>
                  <a:schemeClr val="tx2"/>
                </a:solidFill>
              </a:rPr>
              <a:t>embétonnée</a:t>
            </a:r>
            <a:r>
              <a:rPr lang="fr-BE" sz="1600" dirty="0">
                <a:solidFill>
                  <a:schemeClr val="tx2"/>
                </a:solidFill>
              </a:rPr>
              <a:t> dans rampe d’accès : 32 tonnes – longueur 38 m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Mât : 89 tonnes – hauteur 41 m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Caissons principaux : 294 tonnes en 3 pièces de 85, 114 et 95 tonn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Entretoises : 33 tonnes – 13 pièc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Entretoises d’extrémité : en C15, 29 tonnes en 3 pièces – en PT00, 23 tonnes 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Moignon : 27 tonn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Poutres de rive : 20 tonn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Haubans diam. 75 mm : 1060 m – 24 pièces – 40 tonn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Longueur : 80,88 m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Largeur : 10,20 m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Delta h : 2,43 m -&gt; pente moyenne de 3%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Poids des structures provisoires : 75 tonnes</a:t>
            </a:r>
          </a:p>
          <a:p>
            <a:pPr marL="0" indent="3175" algn="l">
              <a:buNone/>
            </a:pPr>
            <a:endParaRPr lang="fr-BE" sz="16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Main-d’œuvre : 30.400 heures</a:t>
            </a: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Dessinateur : 4.000 heures – 107 plans – 266 indices</a:t>
            </a:r>
          </a:p>
          <a:p>
            <a:pPr marL="0" indent="3175" algn="l">
              <a:buNone/>
            </a:pPr>
            <a:endParaRPr lang="fr-BE" sz="1600" dirty="0">
              <a:solidFill>
                <a:schemeClr val="tx2"/>
              </a:solidFill>
            </a:endParaRP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740352" y="260648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72172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body" idx="1"/>
          </p:nvPr>
        </p:nvSpPr>
        <p:spPr>
          <a:xfrm>
            <a:off x="323528" y="476672"/>
            <a:ext cx="8424936" cy="6264696"/>
          </a:xfrm>
        </p:spPr>
        <p:txBody>
          <a:bodyPr>
            <a:normAutofit fontScale="25000" lnSpcReduction="20000"/>
          </a:bodyPr>
          <a:lstStyle/>
          <a:p>
            <a:pPr marL="0" indent="3175" algn="l">
              <a:buNone/>
            </a:pPr>
            <a:endParaRPr lang="fr-BE" sz="11200" b="1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endParaRPr lang="fr-BE" sz="11200" b="1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BE" sz="11200" b="1" dirty="0">
                <a:solidFill>
                  <a:schemeClr val="tx2"/>
                </a:solidFill>
              </a:rPr>
              <a:t>4) Phases de construction :</a:t>
            </a:r>
          </a:p>
          <a:p>
            <a:pPr marL="0" indent="3175" algn="l">
              <a:buNone/>
            </a:pPr>
            <a:endParaRPr lang="fr-BE" sz="9600" b="1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1.  PRS </a:t>
            </a:r>
            <a:r>
              <a:rPr lang="fr-FR" sz="8000" dirty="0" err="1">
                <a:solidFill>
                  <a:schemeClr val="tx2"/>
                </a:solidFill>
              </a:rPr>
              <a:t>embétonnée</a:t>
            </a:r>
            <a:r>
              <a:rPr lang="fr-FR" sz="8000" dirty="0">
                <a:solidFill>
                  <a:schemeClr val="tx2"/>
                </a:solidFill>
              </a:rPr>
              <a:t> avec pièces de connexion aux haubans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2.  Structures provisoires de montage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3. Liaison avec la rampe rectiligne du pont – « moignon »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4. Caisson principal avec pièces de connexion aux haubans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5. Entretoises, poutre de rive et culée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6. Mât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7. Haubans</a:t>
            </a:r>
          </a:p>
          <a:p>
            <a:pPr marL="0" indent="3175" algn="l">
              <a:buNone/>
            </a:pPr>
            <a:endParaRPr lang="fr-FR" sz="80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FR" sz="8000" dirty="0">
                <a:solidFill>
                  <a:schemeClr val="tx2"/>
                </a:solidFill>
              </a:rPr>
              <a:t>     </a:t>
            </a:r>
          </a:p>
          <a:p>
            <a:pPr marL="0" indent="3175" algn="l">
              <a:buNone/>
            </a:pPr>
            <a:endParaRPr lang="fr-BE" sz="1600" dirty="0">
              <a:solidFill>
                <a:schemeClr val="tx2"/>
              </a:solidFill>
            </a:endParaRPr>
          </a:p>
          <a:p>
            <a:pPr marL="0" indent="3175" algn="l">
              <a:buNone/>
            </a:pPr>
            <a:r>
              <a:rPr lang="fr-BE" sz="1600" dirty="0">
                <a:solidFill>
                  <a:schemeClr val="tx2"/>
                </a:solidFill>
              </a:rPr>
              <a:t>	</a:t>
            </a:r>
          </a:p>
        </p:txBody>
      </p:sp>
      <p:pic>
        <p:nvPicPr>
          <p:cNvPr id="22529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884368" y="242225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960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01516" y="116632"/>
            <a:ext cx="7822290" cy="648072"/>
          </a:xfrm>
        </p:spPr>
        <p:txBody>
          <a:bodyPr>
            <a:noAutofit/>
          </a:bodyPr>
          <a:lstStyle/>
          <a:p>
            <a:endParaRPr lang="fr-FR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1. PRS </a:t>
            </a:r>
            <a:r>
              <a:rPr lang="fr-FR" sz="2400" dirty="0" err="1">
                <a:solidFill>
                  <a:srgbClr val="1F497D"/>
                </a:solidFill>
              </a:rPr>
              <a:t>embétonnée</a:t>
            </a:r>
            <a:r>
              <a:rPr lang="fr-FR" sz="2400" dirty="0">
                <a:solidFill>
                  <a:srgbClr val="1F497D"/>
                </a:solidFill>
              </a:rPr>
              <a:t> dans la rampe d’accès rectiligne en béton</a:t>
            </a:r>
            <a:endParaRPr lang="fr-BE" sz="2400" dirty="0">
              <a:solidFill>
                <a:srgbClr val="1F497D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827583" y="4725144"/>
            <a:ext cx="745340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/>
              <a:t>PRS permettant la connexion entre la rampe et le pont par l’intermédiaire du mât et de ses haubans.</a:t>
            </a:r>
          </a:p>
          <a:p>
            <a:pPr marL="285750" indent="-285750">
              <a:buFontTx/>
              <a:buChar char="-"/>
            </a:pPr>
            <a:r>
              <a:rPr lang="fr-FR" dirty="0"/>
              <a:t>Importance de la précision des tubes (pièces de connexion aux haubans) devant être positionnés et orientés au millimètre par rapport à la position des oreilles du mât non présent physiquement -&gt; tubes bloqués un à un par étançon permettant un réglage transversal fin.</a:t>
            </a:r>
          </a:p>
          <a:p>
            <a:endParaRPr lang="fr-BE" dirty="0"/>
          </a:p>
        </p:txBody>
      </p:sp>
      <p:pic>
        <p:nvPicPr>
          <p:cNvPr id="5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884368" y="127316"/>
            <a:ext cx="1032148" cy="298995"/>
          </a:xfrm>
          <a:prstGeom prst="rect">
            <a:avLst/>
          </a:prstGeom>
          <a:noFill/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543" y="1052736"/>
            <a:ext cx="8238235" cy="3559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022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01516" y="426310"/>
            <a:ext cx="7822290" cy="316218"/>
          </a:xfrm>
        </p:spPr>
        <p:txBody>
          <a:bodyPr>
            <a:noAutofit/>
          </a:bodyPr>
          <a:lstStyle/>
          <a:p>
            <a:endParaRPr lang="fr-FR" dirty="0">
              <a:solidFill>
                <a:srgbClr val="1F497D"/>
              </a:solidFill>
            </a:endParaRPr>
          </a:p>
          <a:p>
            <a:r>
              <a:rPr lang="fr-FR" sz="2400" dirty="0">
                <a:solidFill>
                  <a:srgbClr val="1F497D"/>
                </a:solidFill>
              </a:rPr>
              <a:t>1. PRS </a:t>
            </a:r>
            <a:r>
              <a:rPr lang="fr-FR" sz="2400" dirty="0" err="1">
                <a:solidFill>
                  <a:srgbClr val="1F497D"/>
                </a:solidFill>
              </a:rPr>
              <a:t>embétonnée</a:t>
            </a:r>
            <a:r>
              <a:rPr lang="fr-FR" sz="2400" dirty="0">
                <a:solidFill>
                  <a:srgbClr val="1F497D"/>
                </a:solidFill>
              </a:rPr>
              <a:t> dans la rampe d’accès rectiligne en béton</a:t>
            </a:r>
            <a:endParaRPr lang="fr-BE" sz="2400" dirty="0">
              <a:solidFill>
                <a:srgbClr val="1F497D"/>
              </a:solidFill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191" y="742528"/>
            <a:ext cx="4254038" cy="3190528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061477" y="3011531"/>
            <a:ext cx="4149080" cy="311181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669" y="1658575"/>
            <a:ext cx="5422776" cy="4067082"/>
          </a:xfrm>
          <a:prstGeom prst="rect">
            <a:avLst/>
          </a:prstGeom>
        </p:spPr>
      </p:pic>
      <p:pic>
        <p:nvPicPr>
          <p:cNvPr id="7" name="Picture 1" descr="D:\Mes Documents Th\Companies\Solvitis\Customer\e-Capital\TechnoMetal\1. Diagnostic\technometal_logo_complet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884368" y="177677"/>
            <a:ext cx="1032148" cy="2989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30226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75</TotalTime>
  <Words>1741</Words>
  <Application>Microsoft Office PowerPoint</Application>
  <PresentationFormat>Affichage à l'écran (4:3)</PresentationFormat>
  <Paragraphs>281</Paragraphs>
  <Slides>52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52</vt:i4>
      </vt:variant>
    </vt:vector>
  </HeadingPairs>
  <TitlesOfParts>
    <vt:vector size="59" baseType="lpstr">
      <vt:lpstr>Adobe Garamond Pro</vt:lpstr>
      <vt:lpstr>Arial</vt:lpstr>
      <vt:lpstr>Calibri</vt:lpstr>
      <vt:lpstr>Wingdings</vt:lpstr>
      <vt:lpstr>Office Theme</vt:lpstr>
      <vt:lpstr>think-cell Slide</vt:lpstr>
      <vt:lpstr>PDF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hierry</dc:creator>
  <cp:lastModifiedBy>VERVIER Séverine</cp:lastModifiedBy>
  <cp:revision>1235</cp:revision>
  <cp:lastPrinted>2019-01-18T11:05:30Z</cp:lastPrinted>
  <dcterms:created xsi:type="dcterms:W3CDTF">2013-05-07T20:36:42Z</dcterms:created>
  <dcterms:modified xsi:type="dcterms:W3CDTF">2022-04-29T06:1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7a477d1-147d-4e34-b5e3-7b26d2f44870_Enabled">
    <vt:lpwstr>true</vt:lpwstr>
  </property>
  <property fmtid="{D5CDD505-2E9C-101B-9397-08002B2CF9AE}" pid="3" name="MSIP_Label_97a477d1-147d-4e34-b5e3-7b26d2f44870_SetDate">
    <vt:lpwstr>2022-04-29T06:09:53Z</vt:lpwstr>
  </property>
  <property fmtid="{D5CDD505-2E9C-101B-9397-08002B2CF9AE}" pid="4" name="MSIP_Label_97a477d1-147d-4e34-b5e3-7b26d2f44870_Method">
    <vt:lpwstr>Standard</vt:lpwstr>
  </property>
  <property fmtid="{D5CDD505-2E9C-101B-9397-08002B2CF9AE}" pid="5" name="MSIP_Label_97a477d1-147d-4e34-b5e3-7b26d2f44870_Name">
    <vt:lpwstr>97a477d1-147d-4e34-b5e3-7b26d2f44870</vt:lpwstr>
  </property>
  <property fmtid="{D5CDD505-2E9C-101B-9397-08002B2CF9AE}" pid="6" name="MSIP_Label_97a477d1-147d-4e34-b5e3-7b26d2f44870_SiteId">
    <vt:lpwstr>1f816a84-7aa6-4a56-b22a-7b3452fa8681</vt:lpwstr>
  </property>
  <property fmtid="{D5CDD505-2E9C-101B-9397-08002B2CF9AE}" pid="7" name="MSIP_Label_97a477d1-147d-4e34-b5e3-7b26d2f44870_ActionId">
    <vt:lpwstr>9cde507b-94d6-45cb-8bab-ef6938afb606</vt:lpwstr>
  </property>
  <property fmtid="{D5CDD505-2E9C-101B-9397-08002B2CF9AE}" pid="8" name="MSIP_Label_97a477d1-147d-4e34-b5e3-7b26d2f44870_ContentBits">
    <vt:lpwstr>0</vt:lpwstr>
  </property>
</Properties>
</file>